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13"/>
  </p:notesMasterIdLst>
  <p:handoutMasterIdLst>
    <p:handoutMasterId r:id="rId14"/>
  </p:handoutMasterIdLst>
  <p:sldIdLst>
    <p:sldId id="532" r:id="rId2"/>
    <p:sldId id="533" r:id="rId3"/>
    <p:sldId id="534" r:id="rId4"/>
    <p:sldId id="435" r:id="rId5"/>
    <p:sldId id="486" r:id="rId6"/>
    <p:sldId id="536" r:id="rId7"/>
    <p:sldId id="537" r:id="rId8"/>
    <p:sldId id="487" r:id="rId9"/>
    <p:sldId id="488" r:id="rId10"/>
    <p:sldId id="489" r:id="rId11"/>
    <p:sldId id="547" r:id="rId12"/>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44" autoAdjust="0"/>
    <p:restoredTop sz="80272" autoAdjust="0"/>
  </p:normalViewPr>
  <p:slideViewPr>
    <p:cSldViewPr>
      <p:cViewPr varScale="1">
        <p:scale>
          <a:sx n="101" d="100"/>
          <a:sy n="101" d="100"/>
        </p:scale>
        <p:origin x="1136" y="200"/>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setting up</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4AD7812B-649E-4940-8BA9-CF13C51DDB5A}">
      <dgm:prSet/>
      <dgm:spPr/>
      <dgm:t>
        <a:bodyPr/>
        <a:lstStyle/>
        <a:p>
          <a:pPr rtl="0"/>
          <a:r>
            <a:rPr lang="en-CA" dirty="0"/>
            <a:t>sole practitioner</a:t>
          </a:r>
        </a:p>
      </dgm:t>
    </dgm:pt>
    <dgm:pt modelId="{94844876-41E6-7C4A-9EB7-372A91062E87}" type="parTrans" cxnId="{B00FD336-D5BE-814D-8854-3EFDE0F35961}">
      <dgm:prSet/>
      <dgm:spPr/>
      <dgm:t>
        <a:bodyPr/>
        <a:lstStyle/>
        <a:p>
          <a:endParaRPr lang="en-CA"/>
        </a:p>
      </dgm:t>
    </dgm:pt>
    <dgm:pt modelId="{B5A076CC-07FA-6B4A-A94B-67A2BD42B23A}" type="sibTrans" cxnId="{B00FD336-D5BE-814D-8854-3EFDE0F35961}">
      <dgm:prSet/>
      <dgm:spPr/>
      <dgm:t>
        <a:bodyPr/>
        <a:lstStyle/>
        <a:p>
          <a:endParaRPr lang="en-CA"/>
        </a:p>
      </dgm:t>
    </dgm:pt>
    <dgm:pt modelId="{AC9E2CBD-BBA0-C949-B4E4-B5DEAB3D7E31}">
      <dgm:prSet/>
      <dgm:spPr/>
      <dgm:t>
        <a:bodyPr/>
        <a:lstStyle/>
        <a:p>
          <a:pPr rtl="0"/>
          <a:r>
            <a:rPr lang="en-CA" dirty="0"/>
            <a:t>shared database</a:t>
          </a:r>
        </a:p>
      </dgm:t>
    </dgm:pt>
    <dgm:pt modelId="{1EE4C5DF-D5FD-A847-8372-25F8CF96302B}" type="parTrans" cxnId="{42896299-8027-E640-A907-D1F1A9D780C7}">
      <dgm:prSet/>
      <dgm:spPr/>
      <dgm:t>
        <a:bodyPr/>
        <a:lstStyle/>
        <a:p>
          <a:endParaRPr lang="en-CA"/>
        </a:p>
      </dgm:t>
    </dgm:pt>
    <dgm:pt modelId="{E5BCB89F-5F79-D943-8A0E-4D5A31CF5B41}" type="sibTrans" cxnId="{42896299-8027-E640-A907-D1F1A9D780C7}">
      <dgm:prSet/>
      <dgm:spPr/>
      <dgm:t>
        <a:bodyPr/>
        <a:lstStyle/>
        <a:p>
          <a:endParaRPr lang="en-CA"/>
        </a:p>
      </dgm:t>
    </dgm:pt>
    <dgm:pt modelId="{CE6DA9A2-FF34-E54F-B9ED-EE3126A8B8FB}" type="pres">
      <dgm:prSet presAssocID="{02BA0D8E-884F-D545-BFF7-95207C181DAB}" presName="vert0" presStyleCnt="0">
        <dgm:presLayoutVars>
          <dgm:dir/>
          <dgm:animOne val="branch"/>
          <dgm:animLvl val="lvl"/>
        </dgm:presLayoutVars>
      </dgm:prSet>
      <dgm:spPr/>
    </dgm:pt>
    <dgm:pt modelId="{55BBC5B5-B7F0-204E-AB6E-9F5A84169898}" type="pres">
      <dgm:prSet presAssocID="{CF0461F7-EC97-BB41-A574-9C1E3009EACC}" presName="thickLine" presStyleLbl="alignNode1" presStyleIdx="0" presStyleCnt="3"/>
      <dgm:spPr/>
    </dgm:pt>
    <dgm:pt modelId="{ADF20617-48D2-BC4F-8AA8-EB700DD99B63}" type="pres">
      <dgm:prSet presAssocID="{CF0461F7-EC97-BB41-A574-9C1E3009EACC}" presName="horz1" presStyleCnt="0"/>
      <dgm:spPr/>
    </dgm:pt>
    <dgm:pt modelId="{09073C2E-2F31-D04E-A470-5831DA3856A1}" type="pres">
      <dgm:prSet presAssocID="{CF0461F7-EC97-BB41-A574-9C1E3009EACC}" presName="tx1" presStyleLbl="revTx" presStyleIdx="0" presStyleCnt="3"/>
      <dgm:spPr/>
    </dgm:pt>
    <dgm:pt modelId="{8E762E9A-3FF1-864A-9CC2-32602C7EBFAD}" type="pres">
      <dgm:prSet presAssocID="{CF0461F7-EC97-BB41-A574-9C1E3009EACC}" presName="vert1" presStyleCnt="0"/>
      <dgm:spPr/>
    </dgm:pt>
    <dgm:pt modelId="{51805EAD-1D1D-4248-BA05-39E2B3B845A1}" type="pres">
      <dgm:prSet presAssocID="{4AD7812B-649E-4940-8BA9-CF13C51DDB5A}" presName="thickLine" presStyleLbl="alignNode1" presStyleIdx="1" presStyleCnt="3"/>
      <dgm:spPr/>
    </dgm:pt>
    <dgm:pt modelId="{77619575-EC66-9C48-8D66-F7A45617DC1D}" type="pres">
      <dgm:prSet presAssocID="{4AD7812B-649E-4940-8BA9-CF13C51DDB5A}" presName="horz1" presStyleCnt="0"/>
      <dgm:spPr/>
    </dgm:pt>
    <dgm:pt modelId="{CBA81345-7403-1D4A-8BF9-22D5C1B8083A}" type="pres">
      <dgm:prSet presAssocID="{4AD7812B-649E-4940-8BA9-CF13C51DDB5A}" presName="tx1" presStyleLbl="revTx" presStyleIdx="1" presStyleCnt="3"/>
      <dgm:spPr/>
    </dgm:pt>
    <dgm:pt modelId="{E9FAAF29-BB02-1444-BA04-06762DECD75C}" type="pres">
      <dgm:prSet presAssocID="{4AD7812B-649E-4940-8BA9-CF13C51DDB5A}" presName="vert1" presStyleCnt="0"/>
      <dgm:spPr/>
    </dgm:pt>
    <dgm:pt modelId="{B64A8D7D-2C58-8640-A729-D863EB7F8779}" type="pres">
      <dgm:prSet presAssocID="{AC9E2CBD-BBA0-C949-B4E4-B5DEAB3D7E31}" presName="thickLine" presStyleLbl="alignNode1" presStyleIdx="2" presStyleCnt="3"/>
      <dgm:spPr/>
    </dgm:pt>
    <dgm:pt modelId="{CEB38369-B3C6-094D-900F-973EFF283E62}" type="pres">
      <dgm:prSet presAssocID="{AC9E2CBD-BBA0-C949-B4E4-B5DEAB3D7E31}" presName="horz1" presStyleCnt="0"/>
      <dgm:spPr/>
    </dgm:pt>
    <dgm:pt modelId="{BD78CD1B-E18E-2F49-AB8B-57D6AB8CB08D}" type="pres">
      <dgm:prSet presAssocID="{AC9E2CBD-BBA0-C949-B4E4-B5DEAB3D7E31}" presName="tx1" presStyleLbl="revTx" presStyleIdx="2" presStyleCnt="3"/>
      <dgm:spPr/>
    </dgm:pt>
    <dgm:pt modelId="{AD19E905-5487-BD4D-A1C4-85EF73686C10}" type="pres">
      <dgm:prSet presAssocID="{AC9E2CBD-BBA0-C949-B4E4-B5DEAB3D7E31}" presName="vert1" presStyleCnt="0"/>
      <dgm:spPr/>
    </dgm:pt>
  </dgm:ptLst>
  <dgm:cxnLst>
    <dgm:cxn modelId="{BCD2D42A-4BC0-C44F-8C73-8FB30CF312C7}" type="presOf" srcId="{4AD7812B-649E-4940-8BA9-CF13C51DDB5A}" destId="{CBA81345-7403-1D4A-8BF9-22D5C1B8083A}" srcOrd="0" destOrd="0" presId="urn:microsoft.com/office/officeart/2008/layout/LinedList"/>
    <dgm:cxn modelId="{B00FD336-D5BE-814D-8854-3EFDE0F35961}" srcId="{02BA0D8E-884F-D545-BFF7-95207C181DAB}" destId="{4AD7812B-649E-4940-8BA9-CF13C51DDB5A}" srcOrd="1" destOrd="0" parTransId="{94844876-41E6-7C4A-9EB7-372A91062E87}" sibTransId="{B5A076CC-07FA-6B4A-A94B-67A2BD42B23A}"/>
    <dgm:cxn modelId="{674D6C8A-30E6-564D-9142-120BB4D947A9}" srcId="{02BA0D8E-884F-D545-BFF7-95207C181DAB}" destId="{CF0461F7-EC97-BB41-A574-9C1E3009EACC}" srcOrd="0" destOrd="0" parTransId="{B2C709E6-0566-4D4E-97EA-2EBE699D701F}" sibTransId="{ABC1C475-5434-1B41-BC48-ADC728C8CBF7}"/>
    <dgm:cxn modelId="{9843DE95-86F6-1F45-B932-32BED309DCC4}" type="presOf" srcId="{AC9E2CBD-BBA0-C949-B4E4-B5DEAB3D7E31}" destId="{BD78CD1B-E18E-2F49-AB8B-57D6AB8CB08D}" srcOrd="0" destOrd="0" presId="urn:microsoft.com/office/officeart/2008/layout/LinedList"/>
    <dgm:cxn modelId="{42896299-8027-E640-A907-D1F1A9D780C7}" srcId="{02BA0D8E-884F-D545-BFF7-95207C181DAB}" destId="{AC9E2CBD-BBA0-C949-B4E4-B5DEAB3D7E31}" srcOrd="2" destOrd="0" parTransId="{1EE4C5DF-D5FD-A847-8372-25F8CF96302B}" sibTransId="{E5BCB89F-5F79-D943-8A0E-4D5A31CF5B41}"/>
    <dgm:cxn modelId="{85AA5FA7-BDF8-E74D-AC8F-258A760F93F8}" type="presOf" srcId="{02BA0D8E-884F-D545-BFF7-95207C181DAB}" destId="{CE6DA9A2-FF34-E54F-B9ED-EE3126A8B8FB}" srcOrd="0" destOrd="0" presId="urn:microsoft.com/office/officeart/2008/layout/LinedList"/>
    <dgm:cxn modelId="{7B1C0FD0-F790-7549-BCB0-736DF2901192}" type="presOf" srcId="{CF0461F7-EC97-BB41-A574-9C1E3009EACC}" destId="{09073C2E-2F31-D04E-A470-5831DA3856A1}" srcOrd="0" destOrd="0" presId="urn:microsoft.com/office/officeart/2008/layout/LinedList"/>
    <dgm:cxn modelId="{556895CD-DF24-FB47-84D0-CD61380DCA14}" type="presParOf" srcId="{CE6DA9A2-FF34-E54F-B9ED-EE3126A8B8FB}" destId="{55BBC5B5-B7F0-204E-AB6E-9F5A84169898}" srcOrd="0" destOrd="0" presId="urn:microsoft.com/office/officeart/2008/layout/LinedList"/>
    <dgm:cxn modelId="{80913C17-981D-7A43-873C-BD37E87D5DB0}" type="presParOf" srcId="{CE6DA9A2-FF34-E54F-B9ED-EE3126A8B8FB}" destId="{ADF20617-48D2-BC4F-8AA8-EB700DD99B63}" srcOrd="1" destOrd="0" presId="urn:microsoft.com/office/officeart/2008/layout/LinedList"/>
    <dgm:cxn modelId="{DF6AFF0B-C4C2-CC41-9783-E57B41A69EE0}" type="presParOf" srcId="{ADF20617-48D2-BC4F-8AA8-EB700DD99B63}" destId="{09073C2E-2F31-D04E-A470-5831DA3856A1}" srcOrd="0" destOrd="0" presId="urn:microsoft.com/office/officeart/2008/layout/LinedList"/>
    <dgm:cxn modelId="{9C470CE7-99CE-874F-8EDB-674D5BF7C120}" type="presParOf" srcId="{ADF20617-48D2-BC4F-8AA8-EB700DD99B63}" destId="{8E762E9A-3FF1-864A-9CC2-32602C7EBFAD}" srcOrd="1" destOrd="0" presId="urn:microsoft.com/office/officeart/2008/layout/LinedList"/>
    <dgm:cxn modelId="{956E7D2B-BBD4-4347-A557-703C77C4030C}" type="presParOf" srcId="{CE6DA9A2-FF34-E54F-B9ED-EE3126A8B8FB}" destId="{51805EAD-1D1D-4248-BA05-39E2B3B845A1}" srcOrd="2" destOrd="0" presId="urn:microsoft.com/office/officeart/2008/layout/LinedList"/>
    <dgm:cxn modelId="{98E1F9AE-950F-524C-9C45-DAA7DB51E134}" type="presParOf" srcId="{CE6DA9A2-FF34-E54F-B9ED-EE3126A8B8FB}" destId="{77619575-EC66-9C48-8D66-F7A45617DC1D}" srcOrd="3" destOrd="0" presId="urn:microsoft.com/office/officeart/2008/layout/LinedList"/>
    <dgm:cxn modelId="{7D29D2CA-4211-8743-81A6-C6B4A699567A}" type="presParOf" srcId="{77619575-EC66-9C48-8D66-F7A45617DC1D}" destId="{CBA81345-7403-1D4A-8BF9-22D5C1B8083A}" srcOrd="0" destOrd="0" presId="urn:microsoft.com/office/officeart/2008/layout/LinedList"/>
    <dgm:cxn modelId="{22280F06-8FCB-6A49-B2B4-B486CB148852}" type="presParOf" srcId="{77619575-EC66-9C48-8D66-F7A45617DC1D}" destId="{E9FAAF29-BB02-1444-BA04-06762DECD75C}" srcOrd="1" destOrd="0" presId="urn:microsoft.com/office/officeart/2008/layout/LinedList"/>
    <dgm:cxn modelId="{BC104080-D3EA-A84A-B98A-178D07F128B6}" type="presParOf" srcId="{CE6DA9A2-FF34-E54F-B9ED-EE3126A8B8FB}" destId="{B64A8D7D-2C58-8640-A729-D863EB7F8779}" srcOrd="4" destOrd="0" presId="urn:microsoft.com/office/officeart/2008/layout/LinedList"/>
    <dgm:cxn modelId="{C3346E04-DAB5-7C42-8269-9F0DF8C9A2E3}" type="presParOf" srcId="{CE6DA9A2-FF34-E54F-B9ED-EE3126A8B8FB}" destId="{CEB38369-B3C6-094D-900F-973EFF283E62}" srcOrd="5" destOrd="0" presId="urn:microsoft.com/office/officeart/2008/layout/LinedList"/>
    <dgm:cxn modelId="{AF30BEA5-0798-3B4E-B1E6-DCA3D821C76D}" type="presParOf" srcId="{CEB38369-B3C6-094D-900F-973EFF283E62}" destId="{BD78CD1B-E18E-2F49-AB8B-57D6AB8CB08D}" srcOrd="0" destOrd="0" presId="urn:microsoft.com/office/officeart/2008/layout/LinedList"/>
    <dgm:cxn modelId="{D38B0AAB-82A8-A946-BA21-1B5A64BAC81E}" type="presParOf" srcId="{CEB38369-B3C6-094D-900F-973EFF283E62}" destId="{AD19E905-5487-BD4D-A1C4-85EF73686C10}"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13</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ABCD3269-AD37-2B4B-854D-EFD0BDA7F313}" type="presOf" srcId="{C2945230-8A03-49C4-AE11-508590DB7B8B}" destId="{DDF5C611-4A57-4D32-BF4D-AD972F42154B}" srcOrd="0" destOrd="0" presId="urn:microsoft.com/office/officeart/2005/8/layout/venn1"/>
    <dgm:cxn modelId="{060FF97A-2EF7-0B4B-A76D-AE0D50607725}"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4945A674-458B-E94B-B174-4E06765F2339}"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custT="1"/>
      <dgm:spPr/>
      <dgm:t>
        <a:bodyPr/>
        <a:lstStyle/>
        <a:p>
          <a:pPr rtl="0"/>
          <a:r>
            <a:rPr lang="en-CA" sz="4000" dirty="0"/>
            <a:t>printing report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963218B0-03E7-B248-BDE4-426021B288BE}">
      <dgm:prSet custT="1"/>
      <dgm:spPr/>
      <dgm:t>
        <a:bodyPr/>
        <a:lstStyle/>
        <a:p>
          <a:pPr rtl="0"/>
          <a:r>
            <a:rPr lang="en-CA" sz="4000" dirty="0"/>
            <a:t>labels</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CE8EB53A-32E1-8E48-842E-EEEF0BC5A26F}" type="pres">
      <dgm:prSet presAssocID="{02BA0D8E-884F-D545-BFF7-95207C181DAB}" presName="vert0" presStyleCnt="0">
        <dgm:presLayoutVars>
          <dgm:dir/>
          <dgm:animOne val="branch"/>
          <dgm:animLvl val="lvl"/>
        </dgm:presLayoutVars>
      </dgm:prSet>
      <dgm:spPr/>
    </dgm:pt>
    <dgm:pt modelId="{BABEDE8D-3EEC-0143-A148-4A851DAE17D4}" type="pres">
      <dgm:prSet presAssocID="{CF0461F7-EC97-BB41-A574-9C1E3009EACC}" presName="thickLine" presStyleLbl="alignNode1" presStyleIdx="0" presStyleCnt="2"/>
      <dgm:spPr/>
    </dgm:pt>
    <dgm:pt modelId="{D4BB050F-4A4F-584F-8987-65200787949A}" type="pres">
      <dgm:prSet presAssocID="{CF0461F7-EC97-BB41-A574-9C1E3009EACC}" presName="horz1" presStyleCnt="0"/>
      <dgm:spPr/>
    </dgm:pt>
    <dgm:pt modelId="{7EBE2508-4726-3C4A-8933-41FE55A6CE08}" type="pres">
      <dgm:prSet presAssocID="{CF0461F7-EC97-BB41-A574-9C1E3009EACC}" presName="tx1" presStyleLbl="revTx" presStyleIdx="0" presStyleCnt="2"/>
      <dgm:spPr/>
    </dgm:pt>
    <dgm:pt modelId="{FDC63AF9-81BB-A742-8EF3-81EE21F9333A}" type="pres">
      <dgm:prSet presAssocID="{CF0461F7-EC97-BB41-A574-9C1E3009EACC}" presName="vert1" presStyleCnt="0"/>
      <dgm:spPr/>
    </dgm:pt>
    <dgm:pt modelId="{A8346F19-D3CD-4444-B51A-FEADE275C9C5}" type="pres">
      <dgm:prSet presAssocID="{963218B0-03E7-B248-BDE4-426021B288BE}" presName="thickLine" presStyleLbl="alignNode1" presStyleIdx="1" presStyleCnt="2"/>
      <dgm:spPr/>
    </dgm:pt>
    <dgm:pt modelId="{93C1B57F-518A-DF49-8FA1-F9B9285BA7B9}" type="pres">
      <dgm:prSet presAssocID="{963218B0-03E7-B248-BDE4-426021B288BE}" presName="horz1" presStyleCnt="0"/>
      <dgm:spPr/>
    </dgm:pt>
    <dgm:pt modelId="{23313E22-FDA1-EA42-B51C-333E117AE3D0}" type="pres">
      <dgm:prSet presAssocID="{963218B0-03E7-B248-BDE4-426021B288BE}" presName="tx1" presStyleLbl="revTx" presStyleIdx="1" presStyleCnt="2"/>
      <dgm:spPr/>
    </dgm:pt>
    <dgm:pt modelId="{B4E32728-9584-3944-86F5-EF78D76032F2}" type="pres">
      <dgm:prSet presAssocID="{963218B0-03E7-B248-BDE4-426021B288BE}" presName="vert1" presStyleCnt="0"/>
      <dgm:spPr/>
    </dgm:pt>
  </dgm:ptLst>
  <dgm:cxnLst>
    <dgm:cxn modelId="{D668B513-E88B-894E-ABD5-8CFD69A47254}" type="presOf" srcId="{02BA0D8E-884F-D545-BFF7-95207C181DAB}" destId="{CE8EB53A-32E1-8E48-842E-EEEF0BC5A26F}" srcOrd="0" destOrd="0" presId="urn:microsoft.com/office/officeart/2008/layout/LinedList"/>
    <dgm:cxn modelId="{91B91430-C8A6-394A-B442-DAF3F3B9F667}" type="presOf" srcId="{CF0461F7-EC97-BB41-A574-9C1E3009EACC}" destId="{7EBE2508-4726-3C4A-8933-41FE55A6CE08}" srcOrd="0" destOrd="0" presId="urn:microsoft.com/office/officeart/2008/layout/LinedList"/>
    <dgm:cxn modelId="{23C8234D-1C98-7C4F-B880-14CFF0EC6C9C}" type="presOf" srcId="{963218B0-03E7-B248-BDE4-426021B288BE}" destId="{23313E22-FDA1-EA42-B51C-333E117AE3D0}" srcOrd="0" destOrd="0" presId="urn:microsoft.com/office/officeart/2008/layout/LinedList"/>
    <dgm:cxn modelId="{712BC364-7900-994F-AAE7-E8F459A67C59}" srcId="{02BA0D8E-884F-D545-BFF7-95207C181DAB}" destId="{963218B0-03E7-B248-BDE4-426021B288BE}" srcOrd="1" destOrd="0" parTransId="{7474B829-CB2E-394E-8C4B-780B9C0B7223}" sibTransId="{37A20B40-C6B8-2244-B6A7-3690479ACC26}"/>
    <dgm:cxn modelId="{674D6C8A-30E6-564D-9142-120BB4D947A9}" srcId="{02BA0D8E-884F-D545-BFF7-95207C181DAB}" destId="{CF0461F7-EC97-BB41-A574-9C1E3009EACC}" srcOrd="0" destOrd="0" parTransId="{B2C709E6-0566-4D4E-97EA-2EBE699D701F}" sibTransId="{ABC1C475-5434-1B41-BC48-ADC728C8CBF7}"/>
    <dgm:cxn modelId="{68F4FD5B-B6FD-0946-9A13-3F51DBCF13AB}" type="presParOf" srcId="{CE8EB53A-32E1-8E48-842E-EEEF0BC5A26F}" destId="{BABEDE8D-3EEC-0143-A148-4A851DAE17D4}" srcOrd="0" destOrd="0" presId="urn:microsoft.com/office/officeart/2008/layout/LinedList"/>
    <dgm:cxn modelId="{BA8A5033-B7AB-E54B-BDF2-3DC9B7AE6C63}" type="presParOf" srcId="{CE8EB53A-32E1-8E48-842E-EEEF0BC5A26F}" destId="{D4BB050F-4A4F-584F-8987-65200787949A}" srcOrd="1" destOrd="0" presId="urn:microsoft.com/office/officeart/2008/layout/LinedList"/>
    <dgm:cxn modelId="{228049E1-A3CD-414C-AF21-C66EB9884402}" type="presParOf" srcId="{D4BB050F-4A4F-584F-8987-65200787949A}" destId="{7EBE2508-4726-3C4A-8933-41FE55A6CE08}" srcOrd="0" destOrd="0" presId="urn:microsoft.com/office/officeart/2008/layout/LinedList"/>
    <dgm:cxn modelId="{69013E95-4047-474A-9E1E-FAB5C69A866F}" type="presParOf" srcId="{D4BB050F-4A4F-584F-8987-65200787949A}" destId="{FDC63AF9-81BB-A742-8EF3-81EE21F9333A}" srcOrd="1" destOrd="0" presId="urn:microsoft.com/office/officeart/2008/layout/LinedList"/>
    <dgm:cxn modelId="{2D72A36C-343A-0144-8473-70707CE4DFDC}" type="presParOf" srcId="{CE8EB53A-32E1-8E48-842E-EEEF0BC5A26F}" destId="{A8346F19-D3CD-4444-B51A-FEADE275C9C5}" srcOrd="2" destOrd="0" presId="urn:microsoft.com/office/officeart/2008/layout/LinedList"/>
    <dgm:cxn modelId="{4A34F932-0E2C-E145-A714-8805675E570C}" type="presParOf" srcId="{CE8EB53A-32E1-8E48-842E-EEEF0BC5A26F}" destId="{93C1B57F-518A-DF49-8FA1-F9B9285BA7B9}" srcOrd="3" destOrd="0" presId="urn:microsoft.com/office/officeart/2008/layout/LinedList"/>
    <dgm:cxn modelId="{658D1A61-CE2A-E948-8B55-0011D20E3CF5}" type="presParOf" srcId="{93C1B57F-518A-DF49-8FA1-F9B9285BA7B9}" destId="{23313E22-FDA1-EA42-B51C-333E117AE3D0}" srcOrd="0" destOrd="0" presId="urn:microsoft.com/office/officeart/2008/layout/LinedList"/>
    <dgm:cxn modelId="{7E9FEBA6-5F90-7A4D-8093-5737D9912615}" type="presParOf" srcId="{93C1B57F-518A-DF49-8FA1-F9B9285BA7B9}" destId="{B4E32728-9584-3944-86F5-EF78D76032F2}"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15-25</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A587C309-1CE9-D640-AEC0-E8DFA53AEA6D}" type="presOf" srcId="{44F371D9-EE28-43D3-A86D-541CB7E51DB8}" destId="{834CDD0F-2A72-40E4-9F5C-254C6DC50A0F}" srcOrd="0" destOrd="0" presId="urn:microsoft.com/office/officeart/2005/8/layout/venn1"/>
    <dgm:cxn modelId="{3B059ACC-76D7-B04E-98EE-3D921048D5C4}"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EDD2143A-EBB0-3042-A1CD-6A88D23C4071}"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6</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3609448E-A534-6146-8762-6F92FD3E8806}" type="presOf" srcId="{C2945230-8A03-49C4-AE11-508590DB7B8B}" destId="{DDF5C611-4A57-4D32-BF4D-AD972F42154B}" srcOrd="0" destOrd="0" presId="urn:microsoft.com/office/officeart/2005/8/layout/venn1"/>
    <dgm:cxn modelId="{311138B3-80E8-2E47-A7B0-B9F893D92B34}"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BCA68F97-08A6-BF44-B20D-7F1BF3E44DD9}"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6306B4F0-0BF6-414D-BBDB-4B362D062134}">
      <dgm:prSet/>
      <dgm:spPr/>
      <dgm:t>
        <a:bodyPr/>
        <a:lstStyle/>
        <a:p>
          <a:pPr rtl="0"/>
          <a:r>
            <a:rPr lang="en-CA" dirty="0"/>
            <a:t>indexing</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E25206B6-99D5-A04D-9764-A37A3A60B289}">
      <dgm:prSet/>
      <dgm:spPr/>
      <dgm:t>
        <a:bodyPr/>
        <a:lstStyle/>
        <a:p>
          <a:pPr rtl="0"/>
          <a:r>
            <a:rPr lang="en-CA" dirty="0"/>
            <a:t>first-time use only</a:t>
          </a:r>
        </a:p>
      </dgm:t>
    </dgm:pt>
    <dgm:pt modelId="{492A14D1-F5D8-4546-8031-A5968602D4A5}" type="parTrans" cxnId="{AF27BA7D-3E14-6845-BCA7-7825A20BB60D}">
      <dgm:prSet/>
      <dgm:spPr/>
      <dgm:t>
        <a:bodyPr/>
        <a:lstStyle/>
        <a:p>
          <a:endParaRPr lang="en-CA"/>
        </a:p>
      </dgm:t>
    </dgm:pt>
    <dgm:pt modelId="{FC81C79C-BEC5-5C4F-84B5-98D8CF799B36}" type="sibTrans" cxnId="{AF27BA7D-3E14-6845-BCA7-7825A20BB60D}">
      <dgm:prSet/>
      <dgm:spPr/>
      <dgm:t>
        <a:bodyPr/>
        <a:lstStyle/>
        <a:p>
          <a:endParaRPr lang="en-CA"/>
        </a:p>
      </dgm:t>
    </dgm:pt>
    <dgm:pt modelId="{FA1BE53A-BE1B-9444-86F2-32FC92C74609}" type="pres">
      <dgm:prSet presAssocID="{02BA0D8E-884F-D545-BFF7-95207C181DAB}" presName="vert0" presStyleCnt="0">
        <dgm:presLayoutVars>
          <dgm:dir/>
          <dgm:animOne val="branch"/>
          <dgm:animLvl val="lvl"/>
        </dgm:presLayoutVars>
      </dgm:prSet>
      <dgm:spPr/>
    </dgm:pt>
    <dgm:pt modelId="{9A5B35EF-7E34-EB43-B2EA-74D3E4C5F99B}" type="pres">
      <dgm:prSet presAssocID="{6306B4F0-0BF6-414D-BBDB-4B362D062134}" presName="thickLine" presStyleLbl="alignNode1" presStyleIdx="0" presStyleCnt="2"/>
      <dgm:spPr/>
    </dgm:pt>
    <dgm:pt modelId="{9B439E39-EC66-E34D-8B36-81CCA715695E}" type="pres">
      <dgm:prSet presAssocID="{6306B4F0-0BF6-414D-BBDB-4B362D062134}" presName="horz1" presStyleCnt="0"/>
      <dgm:spPr/>
    </dgm:pt>
    <dgm:pt modelId="{E14E32B7-9C32-B548-A18A-7AD5E3E51261}" type="pres">
      <dgm:prSet presAssocID="{6306B4F0-0BF6-414D-BBDB-4B362D062134}" presName="tx1" presStyleLbl="revTx" presStyleIdx="0" presStyleCnt="2"/>
      <dgm:spPr/>
    </dgm:pt>
    <dgm:pt modelId="{0B7FB74E-0BB3-A643-88B6-0D59B0A60147}" type="pres">
      <dgm:prSet presAssocID="{6306B4F0-0BF6-414D-BBDB-4B362D062134}" presName="vert1" presStyleCnt="0"/>
      <dgm:spPr/>
    </dgm:pt>
    <dgm:pt modelId="{54D197BB-9C06-104B-BB27-4E3E79CCA443}" type="pres">
      <dgm:prSet presAssocID="{E25206B6-99D5-A04D-9764-A37A3A60B289}" presName="thickLine" presStyleLbl="alignNode1" presStyleIdx="1" presStyleCnt="2"/>
      <dgm:spPr/>
    </dgm:pt>
    <dgm:pt modelId="{ECD9FB7E-A62D-F14C-A927-03E897446BC8}" type="pres">
      <dgm:prSet presAssocID="{E25206B6-99D5-A04D-9764-A37A3A60B289}" presName="horz1" presStyleCnt="0"/>
      <dgm:spPr/>
    </dgm:pt>
    <dgm:pt modelId="{F9315DFA-2A8F-9D40-BAB1-6793B7E1F3DC}" type="pres">
      <dgm:prSet presAssocID="{E25206B6-99D5-A04D-9764-A37A3A60B289}" presName="tx1" presStyleLbl="revTx" presStyleIdx="1" presStyleCnt="2"/>
      <dgm:spPr/>
    </dgm:pt>
    <dgm:pt modelId="{229B590A-1259-1C4D-99D7-997B11BBB5F5}" type="pres">
      <dgm:prSet presAssocID="{E25206B6-99D5-A04D-9764-A37A3A60B289}" presName="vert1" presStyleCnt="0"/>
      <dgm:spPr/>
    </dgm:pt>
  </dgm:ptLst>
  <dgm:cxnLst>
    <dgm:cxn modelId="{4AF96F24-772D-6249-BA9F-449B725A68D1}" type="presOf" srcId="{02BA0D8E-884F-D545-BFF7-95207C181DAB}" destId="{FA1BE53A-BE1B-9444-86F2-32FC92C74609}" srcOrd="0" destOrd="0" presId="urn:microsoft.com/office/officeart/2008/layout/LinedList"/>
    <dgm:cxn modelId="{AF27BA7D-3E14-6845-BCA7-7825A20BB60D}" srcId="{02BA0D8E-884F-D545-BFF7-95207C181DAB}" destId="{E25206B6-99D5-A04D-9764-A37A3A60B289}" srcOrd="1" destOrd="0" parTransId="{492A14D1-F5D8-4546-8031-A5968602D4A5}" sibTransId="{FC81C79C-BEC5-5C4F-84B5-98D8CF799B36}"/>
    <dgm:cxn modelId="{3E3B279F-0622-B742-9C91-30E168ACEF98}" type="presOf" srcId="{E25206B6-99D5-A04D-9764-A37A3A60B289}" destId="{F9315DFA-2A8F-9D40-BAB1-6793B7E1F3DC}" srcOrd="0" destOrd="0" presId="urn:microsoft.com/office/officeart/2008/layout/LinedList"/>
    <dgm:cxn modelId="{04D667D6-88F2-9C43-89F5-E31C711C0AE1}" srcId="{02BA0D8E-884F-D545-BFF7-95207C181DAB}" destId="{6306B4F0-0BF6-414D-BBDB-4B362D062134}" srcOrd="0" destOrd="0" parTransId="{63095D2F-B22F-CE4B-A169-B400C8581FF5}" sibTransId="{F9D809FD-42E8-3C46-AA5B-C0252A438BDB}"/>
    <dgm:cxn modelId="{B69641F4-86BF-D147-B921-B01672D7F728}" type="presOf" srcId="{6306B4F0-0BF6-414D-BBDB-4B362D062134}" destId="{E14E32B7-9C32-B548-A18A-7AD5E3E51261}" srcOrd="0" destOrd="0" presId="urn:microsoft.com/office/officeart/2008/layout/LinedList"/>
    <dgm:cxn modelId="{5DCA66B2-18EC-4246-A9B3-9B11EBDF4A65}" type="presParOf" srcId="{FA1BE53A-BE1B-9444-86F2-32FC92C74609}" destId="{9A5B35EF-7E34-EB43-B2EA-74D3E4C5F99B}" srcOrd="0" destOrd="0" presId="urn:microsoft.com/office/officeart/2008/layout/LinedList"/>
    <dgm:cxn modelId="{1809F628-3F25-4841-A990-20DBC1D6391C}" type="presParOf" srcId="{FA1BE53A-BE1B-9444-86F2-32FC92C74609}" destId="{9B439E39-EC66-E34D-8B36-81CCA715695E}" srcOrd="1" destOrd="0" presId="urn:microsoft.com/office/officeart/2008/layout/LinedList"/>
    <dgm:cxn modelId="{07B64B9E-23EA-424A-BE0F-DF7E8ADEB3D8}" type="presParOf" srcId="{9B439E39-EC66-E34D-8B36-81CCA715695E}" destId="{E14E32B7-9C32-B548-A18A-7AD5E3E51261}" srcOrd="0" destOrd="0" presId="urn:microsoft.com/office/officeart/2008/layout/LinedList"/>
    <dgm:cxn modelId="{6EC6F3D1-42F4-2242-9A33-4AAFD9EDE65B}" type="presParOf" srcId="{9B439E39-EC66-E34D-8B36-81CCA715695E}" destId="{0B7FB74E-0BB3-A643-88B6-0D59B0A60147}" srcOrd="1" destOrd="0" presId="urn:microsoft.com/office/officeart/2008/layout/LinedList"/>
    <dgm:cxn modelId="{FE4CCD4B-DF8F-F448-BA68-285F2A7C8A2F}" type="presParOf" srcId="{FA1BE53A-BE1B-9444-86F2-32FC92C74609}" destId="{54D197BB-9C06-104B-BB27-4E3E79CCA443}" srcOrd="2" destOrd="0" presId="urn:microsoft.com/office/officeart/2008/layout/LinedList"/>
    <dgm:cxn modelId="{658AEA18-80F7-1344-9D2F-CC2CFEDB49E6}" type="presParOf" srcId="{FA1BE53A-BE1B-9444-86F2-32FC92C74609}" destId="{ECD9FB7E-A62D-F14C-A927-03E897446BC8}" srcOrd="3" destOrd="0" presId="urn:microsoft.com/office/officeart/2008/layout/LinedList"/>
    <dgm:cxn modelId="{44584BFB-37DA-4E42-AC17-7182785FFEA2}" type="presParOf" srcId="{ECD9FB7E-A62D-F14C-A927-03E897446BC8}" destId="{F9315DFA-2A8F-9D40-BAB1-6793B7E1F3DC}" srcOrd="0" destOrd="0" presId="urn:microsoft.com/office/officeart/2008/layout/LinedList"/>
    <dgm:cxn modelId="{76329ECA-460A-284C-B8C7-40A250A5764C}" type="presParOf" srcId="{ECD9FB7E-A62D-F14C-A927-03E897446BC8}" destId="{229B590A-1259-1C4D-99D7-997B11BBB5F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8-9</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88EFDB60-1B63-E446-A2FC-1B48C0623B62}"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84A8E8D5-4E91-BF45-A84A-E21C1F2194DA}" type="presOf" srcId="{C2945230-8A03-49C4-AE11-508590DB7B8B}" destId="{DDF5C611-4A57-4D32-BF4D-AD972F42154B}" srcOrd="0" destOrd="0" presId="urn:microsoft.com/office/officeart/2005/8/layout/venn1"/>
    <dgm:cxn modelId="{CE3203DA-FD96-A846-9848-6D72DA4D42C0}"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6306B4F0-0BF6-414D-BBDB-4B362D062134}">
      <dgm:prSet/>
      <dgm:spPr/>
      <dgm:t>
        <a:bodyPr/>
        <a:lstStyle/>
        <a:p>
          <a:pPr rtl="0"/>
          <a:r>
            <a:rPr lang="en-CA" dirty="0"/>
            <a:t>views</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E25206B6-99D5-A04D-9764-A37A3A60B289}">
      <dgm:prSet/>
      <dgm:spPr/>
      <dgm:t>
        <a:bodyPr/>
        <a:lstStyle/>
        <a:p>
          <a:pPr rtl="0"/>
          <a:r>
            <a:rPr lang="en-CA" dirty="0"/>
            <a:t>filters</a:t>
          </a:r>
        </a:p>
      </dgm:t>
    </dgm:pt>
    <dgm:pt modelId="{492A14D1-F5D8-4546-8031-A5968602D4A5}" type="parTrans" cxnId="{AF27BA7D-3E14-6845-BCA7-7825A20BB60D}">
      <dgm:prSet/>
      <dgm:spPr/>
      <dgm:t>
        <a:bodyPr/>
        <a:lstStyle/>
        <a:p>
          <a:endParaRPr lang="en-CA"/>
        </a:p>
      </dgm:t>
    </dgm:pt>
    <dgm:pt modelId="{FC81C79C-BEC5-5C4F-84B5-98D8CF799B36}" type="sibTrans" cxnId="{AF27BA7D-3E14-6845-BCA7-7825A20BB60D}">
      <dgm:prSet/>
      <dgm:spPr/>
      <dgm:t>
        <a:bodyPr/>
        <a:lstStyle/>
        <a:p>
          <a:endParaRPr lang="en-CA"/>
        </a:p>
      </dgm:t>
    </dgm:pt>
    <dgm:pt modelId="{46520877-0134-6543-9B4F-E8373BB12F54}">
      <dgm:prSet custT="1"/>
      <dgm:spPr/>
      <dgm:t>
        <a:bodyPr/>
        <a:lstStyle/>
        <a:p>
          <a:pPr rtl="0"/>
          <a:r>
            <a:rPr lang="en-CA" sz="3200" dirty="0"/>
            <a:t>customizable</a:t>
          </a:r>
        </a:p>
      </dgm:t>
    </dgm:pt>
    <dgm:pt modelId="{D3AD3EBB-4011-E344-827F-E9B6F79C30E8}" type="parTrans" cxnId="{FCB19CFF-60D0-374E-942A-56C3B20AE5AC}">
      <dgm:prSet/>
      <dgm:spPr/>
      <dgm:t>
        <a:bodyPr/>
        <a:lstStyle/>
        <a:p>
          <a:endParaRPr lang="en-CA"/>
        </a:p>
      </dgm:t>
    </dgm:pt>
    <dgm:pt modelId="{A32DD11B-45F7-2B46-BDB2-51F22702E210}" type="sibTrans" cxnId="{FCB19CFF-60D0-374E-942A-56C3B20AE5AC}">
      <dgm:prSet/>
      <dgm:spPr/>
      <dgm:t>
        <a:bodyPr/>
        <a:lstStyle/>
        <a:p>
          <a:endParaRPr lang="en-CA"/>
        </a:p>
      </dgm:t>
    </dgm:pt>
    <dgm:pt modelId="{13D5143A-ADF1-A848-80C7-D56B6FAB4B82}">
      <dgm:prSet custT="1"/>
      <dgm:spPr/>
      <dgm:t>
        <a:bodyPr/>
        <a:lstStyle/>
        <a:p>
          <a:pPr rtl="0"/>
          <a:r>
            <a:rPr lang="en-CA" sz="3200" dirty="0"/>
            <a:t>pre-set</a:t>
          </a:r>
          <a:endParaRPr lang="en-CA" sz="2800" dirty="0"/>
        </a:p>
      </dgm:t>
    </dgm:pt>
    <dgm:pt modelId="{F0264325-5A88-DA4A-AD10-95F8F4B1D224}" type="parTrans" cxnId="{9E512CE9-EA54-A749-B183-31E054A7BFF6}">
      <dgm:prSet/>
      <dgm:spPr/>
      <dgm:t>
        <a:bodyPr/>
        <a:lstStyle/>
        <a:p>
          <a:endParaRPr lang="en-CA"/>
        </a:p>
      </dgm:t>
    </dgm:pt>
    <dgm:pt modelId="{1265B11C-B98B-304E-9ACB-9271B5073083}" type="sibTrans" cxnId="{9E512CE9-EA54-A749-B183-31E054A7BFF6}">
      <dgm:prSet/>
      <dgm:spPr/>
      <dgm:t>
        <a:bodyPr/>
        <a:lstStyle/>
        <a:p>
          <a:endParaRPr lang="en-CA"/>
        </a:p>
      </dgm:t>
    </dgm:pt>
    <dgm:pt modelId="{6BB9C702-62E6-C342-A2CC-1D344F17F6CB}">
      <dgm:prSet custT="1"/>
      <dgm:spPr/>
      <dgm:t>
        <a:bodyPr/>
        <a:lstStyle/>
        <a:p>
          <a:pPr rtl="0"/>
          <a:r>
            <a:rPr lang="en-CA" sz="2800" dirty="0"/>
            <a:t>contact view</a:t>
          </a:r>
        </a:p>
      </dgm:t>
    </dgm:pt>
    <dgm:pt modelId="{A581D306-C99C-214E-B982-DF7EA36B986C}" type="parTrans" cxnId="{F7E13BDB-5479-E943-A36E-5012D22DC2C6}">
      <dgm:prSet/>
      <dgm:spPr/>
      <dgm:t>
        <a:bodyPr/>
        <a:lstStyle/>
        <a:p>
          <a:endParaRPr lang="en-CA"/>
        </a:p>
      </dgm:t>
    </dgm:pt>
    <dgm:pt modelId="{DC61328E-8BC6-134A-AB30-0EDF128B38CC}" type="sibTrans" cxnId="{F7E13BDB-5479-E943-A36E-5012D22DC2C6}">
      <dgm:prSet/>
      <dgm:spPr/>
      <dgm:t>
        <a:bodyPr/>
        <a:lstStyle/>
        <a:p>
          <a:endParaRPr lang="en-CA"/>
        </a:p>
      </dgm:t>
    </dgm:pt>
    <dgm:pt modelId="{E81100EE-8EA6-BA48-8560-DAFBA56A73DD}" type="pres">
      <dgm:prSet presAssocID="{02BA0D8E-884F-D545-BFF7-95207C181DAB}" presName="vert0" presStyleCnt="0">
        <dgm:presLayoutVars>
          <dgm:dir/>
          <dgm:animOne val="branch"/>
          <dgm:animLvl val="lvl"/>
        </dgm:presLayoutVars>
      </dgm:prSet>
      <dgm:spPr/>
    </dgm:pt>
    <dgm:pt modelId="{070664F4-703D-6642-90C5-E1763B90A5AC}" type="pres">
      <dgm:prSet presAssocID="{6306B4F0-0BF6-414D-BBDB-4B362D062134}" presName="thickLine" presStyleLbl="alignNode1" presStyleIdx="0" presStyleCnt="2"/>
      <dgm:spPr/>
    </dgm:pt>
    <dgm:pt modelId="{D7B1F749-2CE1-624C-93A2-38544F097B9D}" type="pres">
      <dgm:prSet presAssocID="{6306B4F0-0BF6-414D-BBDB-4B362D062134}" presName="horz1" presStyleCnt="0"/>
      <dgm:spPr/>
    </dgm:pt>
    <dgm:pt modelId="{67EF1279-56F3-644A-82F2-03EAF197135E}" type="pres">
      <dgm:prSet presAssocID="{6306B4F0-0BF6-414D-BBDB-4B362D062134}" presName="tx1" presStyleLbl="revTx" presStyleIdx="0" presStyleCnt="5"/>
      <dgm:spPr/>
    </dgm:pt>
    <dgm:pt modelId="{DD534B60-CAA7-B544-BFC8-8677FA428626}" type="pres">
      <dgm:prSet presAssocID="{6306B4F0-0BF6-414D-BBDB-4B362D062134}" presName="vert1" presStyleCnt="0"/>
      <dgm:spPr/>
    </dgm:pt>
    <dgm:pt modelId="{6F8D3F18-D163-3A43-88D4-DDF38F190B9B}" type="pres">
      <dgm:prSet presAssocID="{6BB9C702-62E6-C342-A2CC-1D344F17F6CB}" presName="vertSpace2a" presStyleCnt="0"/>
      <dgm:spPr/>
    </dgm:pt>
    <dgm:pt modelId="{C193E08B-E877-554F-AF5C-16A3998193F8}" type="pres">
      <dgm:prSet presAssocID="{6BB9C702-62E6-C342-A2CC-1D344F17F6CB}" presName="horz2" presStyleCnt="0"/>
      <dgm:spPr/>
    </dgm:pt>
    <dgm:pt modelId="{5321CF54-CB46-2C4D-A0FE-17FFF75CAE4E}" type="pres">
      <dgm:prSet presAssocID="{6BB9C702-62E6-C342-A2CC-1D344F17F6CB}" presName="horzSpace2" presStyleCnt="0"/>
      <dgm:spPr/>
    </dgm:pt>
    <dgm:pt modelId="{9D8BE4C8-BE27-F945-AD29-339178606DFE}" type="pres">
      <dgm:prSet presAssocID="{6BB9C702-62E6-C342-A2CC-1D344F17F6CB}" presName="tx2" presStyleLbl="revTx" presStyleIdx="1" presStyleCnt="5"/>
      <dgm:spPr/>
    </dgm:pt>
    <dgm:pt modelId="{88DA2524-4994-A74E-8E1D-168D9EC5D379}" type="pres">
      <dgm:prSet presAssocID="{6BB9C702-62E6-C342-A2CC-1D344F17F6CB}" presName="vert2" presStyleCnt="0"/>
      <dgm:spPr/>
    </dgm:pt>
    <dgm:pt modelId="{F6F783D0-050D-2B4F-AEC4-D78B494A41A8}" type="pres">
      <dgm:prSet presAssocID="{6BB9C702-62E6-C342-A2CC-1D344F17F6CB}" presName="thinLine2b" presStyleLbl="callout" presStyleIdx="0" presStyleCnt="3"/>
      <dgm:spPr/>
    </dgm:pt>
    <dgm:pt modelId="{38137AE1-9027-5A4F-BA1B-401EE7108E8F}" type="pres">
      <dgm:prSet presAssocID="{6BB9C702-62E6-C342-A2CC-1D344F17F6CB}" presName="vertSpace2b" presStyleCnt="0"/>
      <dgm:spPr/>
    </dgm:pt>
    <dgm:pt modelId="{C72F973C-9329-D141-92E7-609BDE1C7344}" type="pres">
      <dgm:prSet presAssocID="{E25206B6-99D5-A04D-9764-A37A3A60B289}" presName="thickLine" presStyleLbl="alignNode1" presStyleIdx="1" presStyleCnt="2"/>
      <dgm:spPr/>
    </dgm:pt>
    <dgm:pt modelId="{486CB934-239B-FA40-B57D-AB64A9FFF3AF}" type="pres">
      <dgm:prSet presAssocID="{E25206B6-99D5-A04D-9764-A37A3A60B289}" presName="horz1" presStyleCnt="0"/>
      <dgm:spPr/>
    </dgm:pt>
    <dgm:pt modelId="{98C3F42B-C2A2-FE46-A527-B73E96D1919F}" type="pres">
      <dgm:prSet presAssocID="{E25206B6-99D5-A04D-9764-A37A3A60B289}" presName="tx1" presStyleLbl="revTx" presStyleIdx="2" presStyleCnt="5"/>
      <dgm:spPr/>
    </dgm:pt>
    <dgm:pt modelId="{4AFAE72B-48EE-9346-BCCC-AD42ED19356E}" type="pres">
      <dgm:prSet presAssocID="{E25206B6-99D5-A04D-9764-A37A3A60B289}" presName="vert1" presStyleCnt="0"/>
      <dgm:spPr/>
    </dgm:pt>
    <dgm:pt modelId="{D32C7FEE-731C-CB4E-A804-55225874C696}" type="pres">
      <dgm:prSet presAssocID="{13D5143A-ADF1-A848-80C7-D56B6FAB4B82}" presName="vertSpace2a" presStyleCnt="0"/>
      <dgm:spPr/>
    </dgm:pt>
    <dgm:pt modelId="{D305660F-BEDB-4248-8231-22BABBEFDC90}" type="pres">
      <dgm:prSet presAssocID="{13D5143A-ADF1-A848-80C7-D56B6FAB4B82}" presName="horz2" presStyleCnt="0"/>
      <dgm:spPr/>
    </dgm:pt>
    <dgm:pt modelId="{B6C1EA65-9FD9-E940-97C7-6B186BA25979}" type="pres">
      <dgm:prSet presAssocID="{13D5143A-ADF1-A848-80C7-D56B6FAB4B82}" presName="horzSpace2" presStyleCnt="0"/>
      <dgm:spPr/>
    </dgm:pt>
    <dgm:pt modelId="{F75F9221-7D15-EB49-85D1-8FE03477079E}" type="pres">
      <dgm:prSet presAssocID="{13D5143A-ADF1-A848-80C7-D56B6FAB4B82}" presName="tx2" presStyleLbl="revTx" presStyleIdx="3" presStyleCnt="5"/>
      <dgm:spPr/>
    </dgm:pt>
    <dgm:pt modelId="{D7499266-7FFD-604A-B873-7EA72F9FF4B0}" type="pres">
      <dgm:prSet presAssocID="{13D5143A-ADF1-A848-80C7-D56B6FAB4B82}" presName="vert2" presStyleCnt="0"/>
      <dgm:spPr/>
    </dgm:pt>
    <dgm:pt modelId="{BB29EAD1-2C42-0A42-84E3-7CDE05C5170F}" type="pres">
      <dgm:prSet presAssocID="{13D5143A-ADF1-A848-80C7-D56B6FAB4B82}" presName="thinLine2b" presStyleLbl="callout" presStyleIdx="1" presStyleCnt="3"/>
      <dgm:spPr/>
    </dgm:pt>
    <dgm:pt modelId="{92E44CF9-9842-704B-87C6-4CAFF1A059C3}" type="pres">
      <dgm:prSet presAssocID="{13D5143A-ADF1-A848-80C7-D56B6FAB4B82}" presName="vertSpace2b" presStyleCnt="0"/>
      <dgm:spPr/>
    </dgm:pt>
    <dgm:pt modelId="{13371F2E-2B57-544B-B90A-84DAD5115434}" type="pres">
      <dgm:prSet presAssocID="{46520877-0134-6543-9B4F-E8373BB12F54}" presName="horz2" presStyleCnt="0"/>
      <dgm:spPr/>
    </dgm:pt>
    <dgm:pt modelId="{32FF9BC0-20C2-7F44-B513-96BCAE22A372}" type="pres">
      <dgm:prSet presAssocID="{46520877-0134-6543-9B4F-E8373BB12F54}" presName="horzSpace2" presStyleCnt="0"/>
      <dgm:spPr/>
    </dgm:pt>
    <dgm:pt modelId="{6950C0BE-9047-7646-ADF4-3656ACAF9222}" type="pres">
      <dgm:prSet presAssocID="{46520877-0134-6543-9B4F-E8373BB12F54}" presName="tx2" presStyleLbl="revTx" presStyleIdx="4" presStyleCnt="5"/>
      <dgm:spPr/>
    </dgm:pt>
    <dgm:pt modelId="{EB42FE11-9853-8240-B522-016D1C748E2D}" type="pres">
      <dgm:prSet presAssocID="{46520877-0134-6543-9B4F-E8373BB12F54}" presName="vert2" presStyleCnt="0"/>
      <dgm:spPr/>
    </dgm:pt>
    <dgm:pt modelId="{A28A457C-BE28-D14A-93AC-D5F3E0518E59}" type="pres">
      <dgm:prSet presAssocID="{46520877-0134-6543-9B4F-E8373BB12F54}" presName="thinLine2b" presStyleLbl="callout" presStyleIdx="2" presStyleCnt="3"/>
      <dgm:spPr/>
    </dgm:pt>
    <dgm:pt modelId="{A1D2AB29-8FB5-264E-A95B-56F8B9EA2E14}" type="pres">
      <dgm:prSet presAssocID="{46520877-0134-6543-9B4F-E8373BB12F54}" presName="vertSpace2b" presStyleCnt="0"/>
      <dgm:spPr/>
    </dgm:pt>
  </dgm:ptLst>
  <dgm:cxnLst>
    <dgm:cxn modelId="{6D73842B-8DE1-0B4C-851A-6B684103F6D8}" type="presOf" srcId="{6BB9C702-62E6-C342-A2CC-1D344F17F6CB}" destId="{9D8BE4C8-BE27-F945-AD29-339178606DFE}" srcOrd="0" destOrd="0" presId="urn:microsoft.com/office/officeart/2008/layout/LinedList"/>
    <dgm:cxn modelId="{CC415B30-E4BE-BC46-9EDA-6BBF404337B9}" type="presOf" srcId="{46520877-0134-6543-9B4F-E8373BB12F54}" destId="{6950C0BE-9047-7646-ADF4-3656ACAF9222}" srcOrd="0" destOrd="0" presId="urn:microsoft.com/office/officeart/2008/layout/LinedList"/>
    <dgm:cxn modelId="{903C1A59-89E1-694E-B076-3128609B72AE}" type="presOf" srcId="{E25206B6-99D5-A04D-9764-A37A3A60B289}" destId="{98C3F42B-C2A2-FE46-A527-B73E96D1919F}" srcOrd="0" destOrd="0" presId="urn:microsoft.com/office/officeart/2008/layout/LinedList"/>
    <dgm:cxn modelId="{AF27BA7D-3E14-6845-BCA7-7825A20BB60D}" srcId="{02BA0D8E-884F-D545-BFF7-95207C181DAB}" destId="{E25206B6-99D5-A04D-9764-A37A3A60B289}" srcOrd="1" destOrd="0" parTransId="{492A14D1-F5D8-4546-8031-A5968602D4A5}" sibTransId="{FC81C79C-BEC5-5C4F-84B5-98D8CF799B36}"/>
    <dgm:cxn modelId="{4E2D7892-7878-3446-86C6-38D587683C2A}" type="presOf" srcId="{6306B4F0-0BF6-414D-BBDB-4B362D062134}" destId="{67EF1279-56F3-644A-82F2-03EAF197135E}" srcOrd="0" destOrd="0" presId="urn:microsoft.com/office/officeart/2008/layout/LinedList"/>
    <dgm:cxn modelId="{04D667D6-88F2-9C43-89F5-E31C711C0AE1}" srcId="{02BA0D8E-884F-D545-BFF7-95207C181DAB}" destId="{6306B4F0-0BF6-414D-BBDB-4B362D062134}" srcOrd="0" destOrd="0" parTransId="{63095D2F-B22F-CE4B-A169-B400C8581FF5}" sibTransId="{F9D809FD-42E8-3C46-AA5B-C0252A438BDB}"/>
    <dgm:cxn modelId="{4552E0D9-46B9-C84C-AD4B-EE6F6B0BE634}" type="presOf" srcId="{13D5143A-ADF1-A848-80C7-D56B6FAB4B82}" destId="{F75F9221-7D15-EB49-85D1-8FE03477079E}" srcOrd="0" destOrd="0" presId="urn:microsoft.com/office/officeart/2008/layout/LinedList"/>
    <dgm:cxn modelId="{F7E13BDB-5479-E943-A36E-5012D22DC2C6}" srcId="{6306B4F0-0BF6-414D-BBDB-4B362D062134}" destId="{6BB9C702-62E6-C342-A2CC-1D344F17F6CB}" srcOrd="0" destOrd="0" parTransId="{A581D306-C99C-214E-B982-DF7EA36B986C}" sibTransId="{DC61328E-8BC6-134A-AB30-0EDF128B38CC}"/>
    <dgm:cxn modelId="{9E512CE9-EA54-A749-B183-31E054A7BFF6}" srcId="{E25206B6-99D5-A04D-9764-A37A3A60B289}" destId="{13D5143A-ADF1-A848-80C7-D56B6FAB4B82}" srcOrd="0" destOrd="0" parTransId="{F0264325-5A88-DA4A-AD10-95F8F4B1D224}" sibTransId="{1265B11C-B98B-304E-9ACB-9271B5073083}"/>
    <dgm:cxn modelId="{95CED5FE-02E2-5E43-A756-581EED558D2E}" type="presOf" srcId="{02BA0D8E-884F-D545-BFF7-95207C181DAB}" destId="{E81100EE-8EA6-BA48-8560-DAFBA56A73DD}" srcOrd="0" destOrd="0" presId="urn:microsoft.com/office/officeart/2008/layout/LinedList"/>
    <dgm:cxn modelId="{FCB19CFF-60D0-374E-942A-56C3B20AE5AC}" srcId="{E25206B6-99D5-A04D-9764-A37A3A60B289}" destId="{46520877-0134-6543-9B4F-E8373BB12F54}" srcOrd="1" destOrd="0" parTransId="{D3AD3EBB-4011-E344-827F-E9B6F79C30E8}" sibTransId="{A32DD11B-45F7-2B46-BDB2-51F22702E210}"/>
    <dgm:cxn modelId="{36C4A98D-1A7F-DE4F-A0C1-580754D87766}" type="presParOf" srcId="{E81100EE-8EA6-BA48-8560-DAFBA56A73DD}" destId="{070664F4-703D-6642-90C5-E1763B90A5AC}" srcOrd="0" destOrd="0" presId="urn:microsoft.com/office/officeart/2008/layout/LinedList"/>
    <dgm:cxn modelId="{F650CC68-10E1-F44F-89C5-BF1D663745E0}" type="presParOf" srcId="{E81100EE-8EA6-BA48-8560-DAFBA56A73DD}" destId="{D7B1F749-2CE1-624C-93A2-38544F097B9D}" srcOrd="1" destOrd="0" presId="urn:microsoft.com/office/officeart/2008/layout/LinedList"/>
    <dgm:cxn modelId="{C82A7D35-1FFF-054E-97B6-7A3197DB146C}" type="presParOf" srcId="{D7B1F749-2CE1-624C-93A2-38544F097B9D}" destId="{67EF1279-56F3-644A-82F2-03EAF197135E}" srcOrd="0" destOrd="0" presId="urn:microsoft.com/office/officeart/2008/layout/LinedList"/>
    <dgm:cxn modelId="{795DD267-E750-8249-A580-52516BFD7243}" type="presParOf" srcId="{D7B1F749-2CE1-624C-93A2-38544F097B9D}" destId="{DD534B60-CAA7-B544-BFC8-8677FA428626}" srcOrd="1" destOrd="0" presId="urn:microsoft.com/office/officeart/2008/layout/LinedList"/>
    <dgm:cxn modelId="{FD3753D2-F4AE-EF42-A700-6CE9CF0D6091}" type="presParOf" srcId="{DD534B60-CAA7-B544-BFC8-8677FA428626}" destId="{6F8D3F18-D163-3A43-88D4-DDF38F190B9B}" srcOrd="0" destOrd="0" presId="urn:microsoft.com/office/officeart/2008/layout/LinedList"/>
    <dgm:cxn modelId="{9C8590DC-2C60-6F4A-BA39-29C83F4AA6C0}" type="presParOf" srcId="{DD534B60-CAA7-B544-BFC8-8677FA428626}" destId="{C193E08B-E877-554F-AF5C-16A3998193F8}" srcOrd="1" destOrd="0" presId="urn:microsoft.com/office/officeart/2008/layout/LinedList"/>
    <dgm:cxn modelId="{517EDF62-3375-904B-85C7-7C01B6FE584E}" type="presParOf" srcId="{C193E08B-E877-554F-AF5C-16A3998193F8}" destId="{5321CF54-CB46-2C4D-A0FE-17FFF75CAE4E}" srcOrd="0" destOrd="0" presId="urn:microsoft.com/office/officeart/2008/layout/LinedList"/>
    <dgm:cxn modelId="{ABEF3ECA-F19E-2A41-BBFF-5D7F90784187}" type="presParOf" srcId="{C193E08B-E877-554F-AF5C-16A3998193F8}" destId="{9D8BE4C8-BE27-F945-AD29-339178606DFE}" srcOrd="1" destOrd="0" presId="urn:microsoft.com/office/officeart/2008/layout/LinedList"/>
    <dgm:cxn modelId="{EC888DBB-80FB-0346-89B6-36C63608660F}" type="presParOf" srcId="{C193E08B-E877-554F-AF5C-16A3998193F8}" destId="{88DA2524-4994-A74E-8E1D-168D9EC5D379}" srcOrd="2" destOrd="0" presId="urn:microsoft.com/office/officeart/2008/layout/LinedList"/>
    <dgm:cxn modelId="{FA43CF09-BB82-3749-88EE-74B44F93327E}" type="presParOf" srcId="{DD534B60-CAA7-B544-BFC8-8677FA428626}" destId="{F6F783D0-050D-2B4F-AEC4-D78B494A41A8}" srcOrd="2" destOrd="0" presId="urn:microsoft.com/office/officeart/2008/layout/LinedList"/>
    <dgm:cxn modelId="{7F29C80E-1F8C-A745-B9EF-A6F86EF9AF97}" type="presParOf" srcId="{DD534B60-CAA7-B544-BFC8-8677FA428626}" destId="{38137AE1-9027-5A4F-BA1B-401EE7108E8F}" srcOrd="3" destOrd="0" presId="urn:microsoft.com/office/officeart/2008/layout/LinedList"/>
    <dgm:cxn modelId="{CBC3AE2A-DB8D-144C-80E4-8FD40243C236}" type="presParOf" srcId="{E81100EE-8EA6-BA48-8560-DAFBA56A73DD}" destId="{C72F973C-9329-D141-92E7-609BDE1C7344}" srcOrd="2" destOrd="0" presId="urn:microsoft.com/office/officeart/2008/layout/LinedList"/>
    <dgm:cxn modelId="{12507E96-5EE5-194A-A5B7-ECAD16D0F4D9}" type="presParOf" srcId="{E81100EE-8EA6-BA48-8560-DAFBA56A73DD}" destId="{486CB934-239B-FA40-B57D-AB64A9FFF3AF}" srcOrd="3" destOrd="0" presId="urn:microsoft.com/office/officeart/2008/layout/LinedList"/>
    <dgm:cxn modelId="{60B31BFF-2512-8347-967E-CC6D3F15CE85}" type="presParOf" srcId="{486CB934-239B-FA40-B57D-AB64A9FFF3AF}" destId="{98C3F42B-C2A2-FE46-A527-B73E96D1919F}" srcOrd="0" destOrd="0" presId="urn:microsoft.com/office/officeart/2008/layout/LinedList"/>
    <dgm:cxn modelId="{F17EB577-7BDA-8642-A405-8D7600B22CF3}" type="presParOf" srcId="{486CB934-239B-FA40-B57D-AB64A9FFF3AF}" destId="{4AFAE72B-48EE-9346-BCCC-AD42ED19356E}" srcOrd="1" destOrd="0" presId="urn:microsoft.com/office/officeart/2008/layout/LinedList"/>
    <dgm:cxn modelId="{B0356515-114A-4E4C-837B-E7B9ADFAA37C}" type="presParOf" srcId="{4AFAE72B-48EE-9346-BCCC-AD42ED19356E}" destId="{D32C7FEE-731C-CB4E-A804-55225874C696}" srcOrd="0" destOrd="0" presId="urn:microsoft.com/office/officeart/2008/layout/LinedList"/>
    <dgm:cxn modelId="{8BFBD76C-2B3A-F446-986A-8AB640CBE754}" type="presParOf" srcId="{4AFAE72B-48EE-9346-BCCC-AD42ED19356E}" destId="{D305660F-BEDB-4248-8231-22BABBEFDC90}" srcOrd="1" destOrd="0" presId="urn:microsoft.com/office/officeart/2008/layout/LinedList"/>
    <dgm:cxn modelId="{EBB2250F-B391-DB4C-8001-49691093643E}" type="presParOf" srcId="{D305660F-BEDB-4248-8231-22BABBEFDC90}" destId="{B6C1EA65-9FD9-E940-97C7-6B186BA25979}" srcOrd="0" destOrd="0" presId="urn:microsoft.com/office/officeart/2008/layout/LinedList"/>
    <dgm:cxn modelId="{19829A38-A3B4-B340-8AAE-71D5F69A6E34}" type="presParOf" srcId="{D305660F-BEDB-4248-8231-22BABBEFDC90}" destId="{F75F9221-7D15-EB49-85D1-8FE03477079E}" srcOrd="1" destOrd="0" presId="urn:microsoft.com/office/officeart/2008/layout/LinedList"/>
    <dgm:cxn modelId="{EC07721A-83C7-1846-85EC-A42B7A3CB1A0}" type="presParOf" srcId="{D305660F-BEDB-4248-8231-22BABBEFDC90}" destId="{D7499266-7FFD-604A-B873-7EA72F9FF4B0}" srcOrd="2" destOrd="0" presId="urn:microsoft.com/office/officeart/2008/layout/LinedList"/>
    <dgm:cxn modelId="{69655003-2D07-4D43-ACD5-52A8AEB60A18}" type="presParOf" srcId="{4AFAE72B-48EE-9346-BCCC-AD42ED19356E}" destId="{BB29EAD1-2C42-0A42-84E3-7CDE05C5170F}" srcOrd="2" destOrd="0" presId="urn:microsoft.com/office/officeart/2008/layout/LinedList"/>
    <dgm:cxn modelId="{2C482BE3-929C-ED44-B13D-466AFDF0E61E}" type="presParOf" srcId="{4AFAE72B-48EE-9346-BCCC-AD42ED19356E}" destId="{92E44CF9-9842-704B-87C6-4CAFF1A059C3}" srcOrd="3" destOrd="0" presId="urn:microsoft.com/office/officeart/2008/layout/LinedList"/>
    <dgm:cxn modelId="{103807A9-74FE-E94A-A9EE-17C6887F7819}" type="presParOf" srcId="{4AFAE72B-48EE-9346-BCCC-AD42ED19356E}" destId="{13371F2E-2B57-544B-B90A-84DAD5115434}" srcOrd="4" destOrd="0" presId="urn:microsoft.com/office/officeart/2008/layout/LinedList"/>
    <dgm:cxn modelId="{FFF0A54F-476D-E445-BB96-A0EED8254E05}" type="presParOf" srcId="{13371F2E-2B57-544B-B90A-84DAD5115434}" destId="{32FF9BC0-20C2-7F44-B513-96BCAE22A372}" srcOrd="0" destOrd="0" presId="urn:microsoft.com/office/officeart/2008/layout/LinedList"/>
    <dgm:cxn modelId="{9FB31C91-32F2-B04A-B716-391D3BFCF667}" type="presParOf" srcId="{13371F2E-2B57-544B-B90A-84DAD5115434}" destId="{6950C0BE-9047-7646-ADF4-3656ACAF9222}" srcOrd="1" destOrd="0" presId="urn:microsoft.com/office/officeart/2008/layout/LinedList"/>
    <dgm:cxn modelId="{78CAF3B0-1028-A74B-9237-102B694DF9C1}" type="presParOf" srcId="{13371F2E-2B57-544B-B90A-84DAD5115434}" destId="{EB42FE11-9853-8240-B522-016D1C748E2D}" srcOrd="2" destOrd="0" presId="urn:microsoft.com/office/officeart/2008/layout/LinedList"/>
    <dgm:cxn modelId="{CED800F5-0435-B94D-A1D0-BF08B266E831}" type="presParOf" srcId="{4AFAE72B-48EE-9346-BCCC-AD42ED19356E}" destId="{A28A457C-BE28-D14A-93AC-D5F3E0518E59}" srcOrd="5" destOrd="0" presId="urn:microsoft.com/office/officeart/2008/layout/LinedList"/>
    <dgm:cxn modelId="{4C8E6B3D-5C34-C445-9402-B63254305A9F}" type="presParOf" srcId="{4AFAE72B-48EE-9346-BCCC-AD42ED19356E}" destId="{A1D2AB29-8FB5-264E-A95B-56F8B9EA2E14}" srcOrd="6"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9-10</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BCF3CBA6-6810-CE4C-98DB-1E3CAF589C81}" type="presOf" srcId="{44F371D9-EE28-43D3-A86D-541CB7E51DB8}" destId="{834CDD0F-2A72-40E4-9F5C-254C6DC50A0F}" srcOrd="0" destOrd="0" presId="urn:microsoft.com/office/officeart/2005/8/layout/venn1"/>
    <dgm:cxn modelId="{54F1E9AC-58FB-AD4E-996A-554E44261094}"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D020685A-FD90-884D-9C50-630CDF558CC1}"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D7781CBE-F52C-491E-B4B4-8942BAAEB811}">
      <dgm:prSet/>
      <dgm:spPr/>
      <dgm:t>
        <a:bodyPr/>
        <a:lstStyle/>
        <a:p>
          <a:pPr rtl="0"/>
          <a:r>
            <a:rPr lang="en-CA"/>
            <a:t>search</a:t>
          </a:r>
          <a:endParaRPr lang="en-CA" dirty="0"/>
        </a:p>
      </dgm:t>
    </dgm:pt>
    <dgm:pt modelId="{61C1F9A0-621C-4E82-8C25-DC5D81A3FA0A}" type="parTrans" cxnId="{A12C5528-4E40-421F-B373-66FA8BD4331F}">
      <dgm:prSet/>
      <dgm:spPr/>
      <dgm:t>
        <a:bodyPr/>
        <a:lstStyle/>
        <a:p>
          <a:endParaRPr lang="en-US"/>
        </a:p>
      </dgm:t>
    </dgm:pt>
    <dgm:pt modelId="{17543E45-2A42-422A-87F5-2A315B691443}" type="sibTrans" cxnId="{A12C5528-4E40-421F-B373-66FA8BD4331F}">
      <dgm:prSet/>
      <dgm:spPr/>
      <dgm:t>
        <a:bodyPr/>
        <a:lstStyle/>
        <a:p>
          <a:endParaRPr lang="en-US"/>
        </a:p>
      </dgm:t>
    </dgm:pt>
    <dgm:pt modelId="{FDC714E1-5E24-47CB-93F3-C7C92D96DF0E}">
      <dgm:prSet custT="1"/>
      <dgm:spPr/>
      <dgm:t>
        <a:bodyPr/>
        <a:lstStyle/>
        <a:p>
          <a:pPr rtl="0"/>
          <a:r>
            <a:rPr lang="en-CA" sz="2400" dirty="0"/>
            <a:t>find files</a:t>
          </a:r>
        </a:p>
      </dgm:t>
    </dgm:pt>
    <dgm:pt modelId="{045045EE-A849-4C18-9B11-A004EA7D8DE8}" type="parTrans" cxnId="{F228A92E-ED10-42A5-B149-9DEE4FE90E93}">
      <dgm:prSet/>
      <dgm:spPr/>
      <dgm:t>
        <a:bodyPr/>
        <a:lstStyle/>
        <a:p>
          <a:endParaRPr lang="en-US"/>
        </a:p>
      </dgm:t>
    </dgm:pt>
    <dgm:pt modelId="{0E15844F-2806-41E3-B09D-1B86EE708157}" type="sibTrans" cxnId="{F228A92E-ED10-42A5-B149-9DEE4FE90E93}">
      <dgm:prSet/>
      <dgm:spPr/>
      <dgm:t>
        <a:bodyPr/>
        <a:lstStyle/>
        <a:p>
          <a:endParaRPr lang="en-US"/>
        </a:p>
      </dgm:t>
    </dgm:pt>
    <dgm:pt modelId="{07786C96-359A-41F1-9438-63F50448DFF3}">
      <dgm:prSet/>
      <dgm:spPr/>
      <dgm:t>
        <a:bodyPr/>
        <a:lstStyle/>
        <a:p>
          <a:pPr rtl="0"/>
          <a:r>
            <a:rPr lang="en-CA" dirty="0"/>
            <a:t>right-click</a:t>
          </a:r>
        </a:p>
      </dgm:t>
    </dgm:pt>
    <dgm:pt modelId="{7434BC43-298D-41A0-892A-A21991B2F329}" type="parTrans" cxnId="{74B86701-ACF1-44ED-97ED-6C098E7A07C8}">
      <dgm:prSet/>
      <dgm:spPr/>
      <dgm:t>
        <a:bodyPr/>
        <a:lstStyle/>
        <a:p>
          <a:endParaRPr lang="en-US"/>
        </a:p>
      </dgm:t>
    </dgm:pt>
    <dgm:pt modelId="{C84B13A1-A9CA-403E-9BC8-32872CD0EAE5}" type="sibTrans" cxnId="{74B86701-ACF1-44ED-97ED-6C098E7A07C8}">
      <dgm:prSet/>
      <dgm:spPr/>
      <dgm:t>
        <a:bodyPr/>
        <a:lstStyle/>
        <a:p>
          <a:endParaRPr lang="en-US"/>
        </a:p>
      </dgm:t>
    </dgm:pt>
    <dgm:pt modelId="{264C391C-A597-4263-AB28-7FF2596F8A33}">
      <dgm:prSet custT="1"/>
      <dgm:spPr/>
      <dgm:t>
        <a:bodyPr/>
        <a:lstStyle/>
        <a:p>
          <a:pPr rtl="0"/>
          <a:r>
            <a:rPr lang="en-CA" sz="2400" dirty="0"/>
            <a:t>more menus</a:t>
          </a:r>
        </a:p>
      </dgm:t>
    </dgm:pt>
    <dgm:pt modelId="{3714B444-A291-4219-A739-B3B3CC505807}" type="parTrans" cxnId="{B0C0ED83-4EF1-42E8-B933-90DA326B3D99}">
      <dgm:prSet/>
      <dgm:spPr/>
      <dgm:t>
        <a:bodyPr/>
        <a:lstStyle/>
        <a:p>
          <a:endParaRPr lang="en-US"/>
        </a:p>
      </dgm:t>
    </dgm:pt>
    <dgm:pt modelId="{6AA770B2-D85E-417C-8C91-8104A248C85C}" type="sibTrans" cxnId="{B0C0ED83-4EF1-42E8-B933-90DA326B3D99}">
      <dgm:prSet/>
      <dgm:spPr/>
      <dgm:t>
        <a:bodyPr/>
        <a:lstStyle/>
        <a:p>
          <a:endParaRPr lang="en-US"/>
        </a:p>
      </dgm:t>
    </dgm:pt>
    <dgm:pt modelId="{7604D47E-C237-294E-AB19-DB6ABDC84937}" type="pres">
      <dgm:prSet presAssocID="{02BA0D8E-884F-D545-BFF7-95207C181DAB}" presName="vert0" presStyleCnt="0">
        <dgm:presLayoutVars>
          <dgm:dir/>
          <dgm:animOne val="branch"/>
          <dgm:animLvl val="lvl"/>
        </dgm:presLayoutVars>
      </dgm:prSet>
      <dgm:spPr/>
    </dgm:pt>
    <dgm:pt modelId="{9C7984E4-4C19-0A4D-8F93-A30B31B97B99}" type="pres">
      <dgm:prSet presAssocID="{D7781CBE-F52C-491E-B4B4-8942BAAEB811}" presName="thickLine" presStyleLbl="alignNode1" presStyleIdx="0" presStyleCnt="2"/>
      <dgm:spPr/>
    </dgm:pt>
    <dgm:pt modelId="{03CA19CD-B9B7-AB4D-B46E-5489AEDD4151}" type="pres">
      <dgm:prSet presAssocID="{D7781CBE-F52C-491E-B4B4-8942BAAEB811}" presName="horz1" presStyleCnt="0"/>
      <dgm:spPr/>
    </dgm:pt>
    <dgm:pt modelId="{4BF5124A-B7F1-AA44-A4D8-966F26D9CE8C}" type="pres">
      <dgm:prSet presAssocID="{D7781CBE-F52C-491E-B4B4-8942BAAEB811}" presName="tx1" presStyleLbl="revTx" presStyleIdx="0" presStyleCnt="4"/>
      <dgm:spPr/>
    </dgm:pt>
    <dgm:pt modelId="{75EE88C6-4B46-1544-831B-81E38019E8E0}" type="pres">
      <dgm:prSet presAssocID="{D7781CBE-F52C-491E-B4B4-8942BAAEB811}" presName="vert1" presStyleCnt="0"/>
      <dgm:spPr/>
    </dgm:pt>
    <dgm:pt modelId="{C23C97AD-C2AD-2943-BAB1-6D00FEA43FCC}" type="pres">
      <dgm:prSet presAssocID="{FDC714E1-5E24-47CB-93F3-C7C92D96DF0E}" presName="vertSpace2a" presStyleCnt="0"/>
      <dgm:spPr/>
    </dgm:pt>
    <dgm:pt modelId="{35D9B86C-F4C2-D74A-9F7C-177CEB7964D0}" type="pres">
      <dgm:prSet presAssocID="{FDC714E1-5E24-47CB-93F3-C7C92D96DF0E}" presName="horz2" presStyleCnt="0"/>
      <dgm:spPr/>
    </dgm:pt>
    <dgm:pt modelId="{7DD77DDF-1D06-C64E-A2CA-355E4DEAA795}" type="pres">
      <dgm:prSet presAssocID="{FDC714E1-5E24-47CB-93F3-C7C92D96DF0E}" presName="horzSpace2" presStyleCnt="0"/>
      <dgm:spPr/>
    </dgm:pt>
    <dgm:pt modelId="{FDA373F4-F934-B04C-AF66-52EA484CE59A}" type="pres">
      <dgm:prSet presAssocID="{FDC714E1-5E24-47CB-93F3-C7C92D96DF0E}" presName="tx2" presStyleLbl="revTx" presStyleIdx="1" presStyleCnt="4"/>
      <dgm:spPr/>
    </dgm:pt>
    <dgm:pt modelId="{BB25DBAB-5051-C94E-955A-8E521F384A0A}" type="pres">
      <dgm:prSet presAssocID="{FDC714E1-5E24-47CB-93F3-C7C92D96DF0E}" presName="vert2" presStyleCnt="0"/>
      <dgm:spPr/>
    </dgm:pt>
    <dgm:pt modelId="{58006B48-EE07-3844-B5B3-BEFFC87C9D1B}" type="pres">
      <dgm:prSet presAssocID="{FDC714E1-5E24-47CB-93F3-C7C92D96DF0E}" presName="thinLine2b" presStyleLbl="callout" presStyleIdx="0" presStyleCnt="2"/>
      <dgm:spPr/>
    </dgm:pt>
    <dgm:pt modelId="{966B71FD-0791-F141-BBA7-FC5F22C0A02F}" type="pres">
      <dgm:prSet presAssocID="{FDC714E1-5E24-47CB-93F3-C7C92D96DF0E}" presName="vertSpace2b" presStyleCnt="0"/>
      <dgm:spPr/>
    </dgm:pt>
    <dgm:pt modelId="{4DDDB32D-E1C9-B84F-B8EC-AE3950E9849E}" type="pres">
      <dgm:prSet presAssocID="{07786C96-359A-41F1-9438-63F50448DFF3}" presName="thickLine" presStyleLbl="alignNode1" presStyleIdx="1" presStyleCnt="2"/>
      <dgm:spPr/>
    </dgm:pt>
    <dgm:pt modelId="{B7EA49DA-85AA-AC4E-B1E1-7F9DA201039C}" type="pres">
      <dgm:prSet presAssocID="{07786C96-359A-41F1-9438-63F50448DFF3}" presName="horz1" presStyleCnt="0"/>
      <dgm:spPr/>
    </dgm:pt>
    <dgm:pt modelId="{6BA32F00-3709-034B-9B12-ED115D3B8198}" type="pres">
      <dgm:prSet presAssocID="{07786C96-359A-41F1-9438-63F50448DFF3}" presName="tx1" presStyleLbl="revTx" presStyleIdx="2" presStyleCnt="4"/>
      <dgm:spPr/>
    </dgm:pt>
    <dgm:pt modelId="{231618EE-CD22-C340-9CF8-4645403D61D3}" type="pres">
      <dgm:prSet presAssocID="{07786C96-359A-41F1-9438-63F50448DFF3}" presName="vert1" presStyleCnt="0"/>
      <dgm:spPr/>
    </dgm:pt>
    <dgm:pt modelId="{9428EF13-458E-194B-A8B1-505C611CA2EB}" type="pres">
      <dgm:prSet presAssocID="{264C391C-A597-4263-AB28-7FF2596F8A33}" presName="vertSpace2a" presStyleCnt="0"/>
      <dgm:spPr/>
    </dgm:pt>
    <dgm:pt modelId="{0AFBD63F-1674-1B4E-AC35-B32F1AA69DE2}" type="pres">
      <dgm:prSet presAssocID="{264C391C-A597-4263-AB28-7FF2596F8A33}" presName="horz2" presStyleCnt="0"/>
      <dgm:spPr/>
    </dgm:pt>
    <dgm:pt modelId="{213671C3-A088-4F48-97DA-62D936117C2D}" type="pres">
      <dgm:prSet presAssocID="{264C391C-A597-4263-AB28-7FF2596F8A33}" presName="horzSpace2" presStyleCnt="0"/>
      <dgm:spPr/>
    </dgm:pt>
    <dgm:pt modelId="{4C22CD23-0647-7B4C-B6F8-D673507C024C}" type="pres">
      <dgm:prSet presAssocID="{264C391C-A597-4263-AB28-7FF2596F8A33}" presName="tx2" presStyleLbl="revTx" presStyleIdx="3" presStyleCnt="4"/>
      <dgm:spPr/>
    </dgm:pt>
    <dgm:pt modelId="{B6647BBC-4DB4-B544-9988-AB7FFF5EB783}" type="pres">
      <dgm:prSet presAssocID="{264C391C-A597-4263-AB28-7FF2596F8A33}" presName="vert2" presStyleCnt="0"/>
      <dgm:spPr/>
    </dgm:pt>
    <dgm:pt modelId="{0AB693E4-2013-1C42-8848-655F17701D4A}" type="pres">
      <dgm:prSet presAssocID="{264C391C-A597-4263-AB28-7FF2596F8A33}" presName="thinLine2b" presStyleLbl="callout" presStyleIdx="1" presStyleCnt="2"/>
      <dgm:spPr/>
    </dgm:pt>
    <dgm:pt modelId="{D3999287-C97E-854B-8ED3-DC2CD044911E}" type="pres">
      <dgm:prSet presAssocID="{264C391C-A597-4263-AB28-7FF2596F8A33}" presName="vertSpace2b" presStyleCnt="0"/>
      <dgm:spPr/>
    </dgm:pt>
  </dgm:ptLst>
  <dgm:cxnLst>
    <dgm:cxn modelId="{74B86701-ACF1-44ED-97ED-6C098E7A07C8}" srcId="{02BA0D8E-884F-D545-BFF7-95207C181DAB}" destId="{07786C96-359A-41F1-9438-63F50448DFF3}" srcOrd="1" destOrd="0" parTransId="{7434BC43-298D-41A0-892A-A21991B2F329}" sibTransId="{C84B13A1-A9CA-403E-9BC8-32872CD0EAE5}"/>
    <dgm:cxn modelId="{86EB9613-EB1A-844F-A18B-082D2462F7ED}" type="presOf" srcId="{FDC714E1-5E24-47CB-93F3-C7C92D96DF0E}" destId="{FDA373F4-F934-B04C-AF66-52EA484CE59A}" srcOrd="0" destOrd="0" presId="urn:microsoft.com/office/officeart/2008/layout/LinedList"/>
    <dgm:cxn modelId="{A12C5528-4E40-421F-B373-66FA8BD4331F}" srcId="{02BA0D8E-884F-D545-BFF7-95207C181DAB}" destId="{D7781CBE-F52C-491E-B4B4-8942BAAEB811}" srcOrd="0" destOrd="0" parTransId="{61C1F9A0-621C-4E82-8C25-DC5D81A3FA0A}" sibTransId="{17543E45-2A42-422A-87F5-2A315B691443}"/>
    <dgm:cxn modelId="{F228A92E-ED10-42A5-B149-9DEE4FE90E93}" srcId="{D7781CBE-F52C-491E-B4B4-8942BAAEB811}" destId="{FDC714E1-5E24-47CB-93F3-C7C92D96DF0E}" srcOrd="0" destOrd="0" parTransId="{045045EE-A849-4C18-9B11-A004EA7D8DE8}" sibTransId="{0E15844F-2806-41E3-B09D-1B86EE708157}"/>
    <dgm:cxn modelId="{E736AC4D-6042-3E4B-9FBC-6877C1A2C7A5}" type="presOf" srcId="{02BA0D8E-884F-D545-BFF7-95207C181DAB}" destId="{7604D47E-C237-294E-AB19-DB6ABDC84937}" srcOrd="0" destOrd="0" presId="urn:microsoft.com/office/officeart/2008/layout/LinedList"/>
    <dgm:cxn modelId="{B0C0ED83-4EF1-42E8-B933-90DA326B3D99}" srcId="{07786C96-359A-41F1-9438-63F50448DFF3}" destId="{264C391C-A597-4263-AB28-7FF2596F8A33}" srcOrd="0" destOrd="0" parTransId="{3714B444-A291-4219-A739-B3B3CC505807}" sibTransId="{6AA770B2-D85E-417C-8C91-8104A248C85C}"/>
    <dgm:cxn modelId="{37FEF194-B531-0640-926C-29B1A6FD9566}" type="presOf" srcId="{07786C96-359A-41F1-9438-63F50448DFF3}" destId="{6BA32F00-3709-034B-9B12-ED115D3B8198}" srcOrd="0" destOrd="0" presId="urn:microsoft.com/office/officeart/2008/layout/LinedList"/>
    <dgm:cxn modelId="{00D6C495-65B6-DD41-8489-B9AEFAA92504}" type="presOf" srcId="{264C391C-A597-4263-AB28-7FF2596F8A33}" destId="{4C22CD23-0647-7B4C-B6F8-D673507C024C}" srcOrd="0" destOrd="0" presId="urn:microsoft.com/office/officeart/2008/layout/LinedList"/>
    <dgm:cxn modelId="{D60316EF-1102-7D41-902D-4FFDB68591F8}" type="presOf" srcId="{D7781CBE-F52C-491E-B4B4-8942BAAEB811}" destId="{4BF5124A-B7F1-AA44-A4D8-966F26D9CE8C}" srcOrd="0" destOrd="0" presId="urn:microsoft.com/office/officeart/2008/layout/LinedList"/>
    <dgm:cxn modelId="{C3C05B36-4F9A-9444-A9AA-6A110A80EF78}" type="presParOf" srcId="{7604D47E-C237-294E-AB19-DB6ABDC84937}" destId="{9C7984E4-4C19-0A4D-8F93-A30B31B97B99}" srcOrd="0" destOrd="0" presId="urn:microsoft.com/office/officeart/2008/layout/LinedList"/>
    <dgm:cxn modelId="{C471273B-9B1C-FE45-B8FA-4A233F7C5E56}" type="presParOf" srcId="{7604D47E-C237-294E-AB19-DB6ABDC84937}" destId="{03CA19CD-B9B7-AB4D-B46E-5489AEDD4151}" srcOrd="1" destOrd="0" presId="urn:microsoft.com/office/officeart/2008/layout/LinedList"/>
    <dgm:cxn modelId="{89F3E628-AC5E-8146-8449-FA48A1B4004C}" type="presParOf" srcId="{03CA19CD-B9B7-AB4D-B46E-5489AEDD4151}" destId="{4BF5124A-B7F1-AA44-A4D8-966F26D9CE8C}" srcOrd="0" destOrd="0" presId="urn:microsoft.com/office/officeart/2008/layout/LinedList"/>
    <dgm:cxn modelId="{B071C97B-326E-2948-B35C-E2A5AF4E5672}" type="presParOf" srcId="{03CA19CD-B9B7-AB4D-B46E-5489AEDD4151}" destId="{75EE88C6-4B46-1544-831B-81E38019E8E0}" srcOrd="1" destOrd="0" presId="urn:microsoft.com/office/officeart/2008/layout/LinedList"/>
    <dgm:cxn modelId="{8B735A4F-04A7-2344-8527-C631DC183A6A}" type="presParOf" srcId="{75EE88C6-4B46-1544-831B-81E38019E8E0}" destId="{C23C97AD-C2AD-2943-BAB1-6D00FEA43FCC}" srcOrd="0" destOrd="0" presId="urn:microsoft.com/office/officeart/2008/layout/LinedList"/>
    <dgm:cxn modelId="{B6597A72-4BF9-0847-94B5-39240607660C}" type="presParOf" srcId="{75EE88C6-4B46-1544-831B-81E38019E8E0}" destId="{35D9B86C-F4C2-D74A-9F7C-177CEB7964D0}" srcOrd="1" destOrd="0" presId="urn:microsoft.com/office/officeart/2008/layout/LinedList"/>
    <dgm:cxn modelId="{C3EF48A7-4CCF-5141-B0E7-069083665006}" type="presParOf" srcId="{35D9B86C-F4C2-D74A-9F7C-177CEB7964D0}" destId="{7DD77DDF-1D06-C64E-A2CA-355E4DEAA795}" srcOrd="0" destOrd="0" presId="urn:microsoft.com/office/officeart/2008/layout/LinedList"/>
    <dgm:cxn modelId="{3CBF79A5-6D86-C643-8A7C-51EC144C65AC}" type="presParOf" srcId="{35D9B86C-F4C2-D74A-9F7C-177CEB7964D0}" destId="{FDA373F4-F934-B04C-AF66-52EA484CE59A}" srcOrd="1" destOrd="0" presId="urn:microsoft.com/office/officeart/2008/layout/LinedList"/>
    <dgm:cxn modelId="{06A7E892-64A0-F945-B583-D09E1C742E6C}" type="presParOf" srcId="{35D9B86C-F4C2-D74A-9F7C-177CEB7964D0}" destId="{BB25DBAB-5051-C94E-955A-8E521F384A0A}" srcOrd="2" destOrd="0" presId="urn:microsoft.com/office/officeart/2008/layout/LinedList"/>
    <dgm:cxn modelId="{E8974250-027D-9945-8CDE-67117E4A17C1}" type="presParOf" srcId="{75EE88C6-4B46-1544-831B-81E38019E8E0}" destId="{58006B48-EE07-3844-B5B3-BEFFC87C9D1B}" srcOrd="2" destOrd="0" presId="urn:microsoft.com/office/officeart/2008/layout/LinedList"/>
    <dgm:cxn modelId="{97F8BDFA-9D81-B34D-AF4E-49ABEE5CF39F}" type="presParOf" srcId="{75EE88C6-4B46-1544-831B-81E38019E8E0}" destId="{966B71FD-0791-F141-BBA7-FC5F22C0A02F}" srcOrd="3" destOrd="0" presId="urn:microsoft.com/office/officeart/2008/layout/LinedList"/>
    <dgm:cxn modelId="{DEB9DA63-923C-AF40-8E5E-2DACBA451AA0}" type="presParOf" srcId="{7604D47E-C237-294E-AB19-DB6ABDC84937}" destId="{4DDDB32D-E1C9-B84F-B8EC-AE3950E9849E}" srcOrd="2" destOrd="0" presId="urn:microsoft.com/office/officeart/2008/layout/LinedList"/>
    <dgm:cxn modelId="{FD985D72-FFB6-3749-BCBD-C7EB9097F6CD}" type="presParOf" srcId="{7604D47E-C237-294E-AB19-DB6ABDC84937}" destId="{B7EA49DA-85AA-AC4E-B1E1-7F9DA201039C}" srcOrd="3" destOrd="0" presId="urn:microsoft.com/office/officeart/2008/layout/LinedList"/>
    <dgm:cxn modelId="{9570DF2A-54B3-514F-9FD3-54FD659C2CD5}" type="presParOf" srcId="{B7EA49DA-85AA-AC4E-B1E1-7F9DA201039C}" destId="{6BA32F00-3709-034B-9B12-ED115D3B8198}" srcOrd="0" destOrd="0" presId="urn:microsoft.com/office/officeart/2008/layout/LinedList"/>
    <dgm:cxn modelId="{C8318F56-E812-644B-9CB2-A1B19C1F0276}" type="presParOf" srcId="{B7EA49DA-85AA-AC4E-B1E1-7F9DA201039C}" destId="{231618EE-CD22-C340-9CF8-4645403D61D3}" srcOrd="1" destOrd="0" presId="urn:microsoft.com/office/officeart/2008/layout/LinedList"/>
    <dgm:cxn modelId="{00FAE426-1B57-3D48-9CC5-403F04501837}" type="presParOf" srcId="{231618EE-CD22-C340-9CF8-4645403D61D3}" destId="{9428EF13-458E-194B-A8B1-505C611CA2EB}" srcOrd="0" destOrd="0" presId="urn:microsoft.com/office/officeart/2008/layout/LinedList"/>
    <dgm:cxn modelId="{51D5197F-9F33-5F43-941D-7A1CF61CBABB}" type="presParOf" srcId="{231618EE-CD22-C340-9CF8-4645403D61D3}" destId="{0AFBD63F-1674-1B4E-AC35-B32F1AA69DE2}" srcOrd="1" destOrd="0" presId="urn:microsoft.com/office/officeart/2008/layout/LinedList"/>
    <dgm:cxn modelId="{6FAA3EFB-A7AB-6147-AEFF-001A210D7119}" type="presParOf" srcId="{0AFBD63F-1674-1B4E-AC35-B32F1AA69DE2}" destId="{213671C3-A088-4F48-97DA-62D936117C2D}" srcOrd="0" destOrd="0" presId="urn:microsoft.com/office/officeart/2008/layout/LinedList"/>
    <dgm:cxn modelId="{C4364B75-35F3-F54C-B221-CF07A5B4033E}" type="presParOf" srcId="{0AFBD63F-1674-1B4E-AC35-B32F1AA69DE2}" destId="{4C22CD23-0647-7B4C-B6F8-D673507C024C}" srcOrd="1" destOrd="0" presId="urn:microsoft.com/office/officeart/2008/layout/LinedList"/>
    <dgm:cxn modelId="{71ACDDED-4929-3F4F-A981-9C26E6D25B24}" type="presParOf" srcId="{0AFBD63F-1674-1B4E-AC35-B32F1AA69DE2}" destId="{B6647BBC-4DB4-B544-9988-AB7FFF5EB783}" srcOrd="2" destOrd="0" presId="urn:microsoft.com/office/officeart/2008/layout/LinedList"/>
    <dgm:cxn modelId="{9E303E4F-C8CE-934A-9935-DBC17CB82B57}" type="presParOf" srcId="{231618EE-CD22-C340-9CF8-4645403D61D3}" destId="{0AB693E4-2013-1C42-8848-655F17701D4A}" srcOrd="2" destOrd="0" presId="urn:microsoft.com/office/officeart/2008/layout/LinedList"/>
    <dgm:cxn modelId="{57E47C8B-6946-B54A-8E29-9B251245B5A5}" type="presParOf" srcId="{231618EE-CD22-C340-9CF8-4645403D61D3}" destId="{D3999287-C97E-854B-8ED3-DC2CD044911E}"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a:t>
          </a:r>
        </a:p>
        <a:p>
          <a:r>
            <a:rPr lang="en-US" b="1" dirty="0">
              <a:solidFill>
                <a:schemeClr val="bg1"/>
              </a:solidFill>
            </a:rPr>
            <a:t>11-12</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AA666E05-0DEE-D545-821A-306EC5F38CD6}" type="presOf" srcId="{C2945230-8A03-49C4-AE11-508590DB7B8B}" destId="{DDF5C611-4A57-4D32-BF4D-AD972F42154B}" srcOrd="0" destOrd="0" presId="urn:microsoft.com/office/officeart/2005/8/layout/venn1"/>
    <dgm:cxn modelId="{595A5DB1-A668-5042-AD8A-096BC147C736}"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BA7B699A-0B18-3F4C-B0D6-21FCA88646E5}"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EFIL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6306B4F0-0BF6-414D-BBDB-4B362D062134}">
      <dgm:prSet/>
      <dgm:spPr/>
      <dgm:t>
        <a:bodyPr/>
        <a:lstStyle/>
        <a:p>
          <a:pPr rtl="0"/>
          <a:r>
            <a:rPr lang="en-CA" dirty="0"/>
            <a:t>Exporting</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A6EB87D4-9C4B-ED4B-AA8D-93C962CBE857}" type="pres">
      <dgm:prSet presAssocID="{02BA0D8E-884F-D545-BFF7-95207C181DAB}" presName="vert0" presStyleCnt="0">
        <dgm:presLayoutVars>
          <dgm:dir/>
          <dgm:animOne val="branch"/>
          <dgm:animLvl val="lvl"/>
        </dgm:presLayoutVars>
      </dgm:prSet>
      <dgm:spPr/>
    </dgm:pt>
    <dgm:pt modelId="{35572FB8-E92E-8E4A-A3DA-12ECF1117C5A}" type="pres">
      <dgm:prSet presAssocID="{CF0461F7-EC97-BB41-A574-9C1E3009EACC}" presName="thickLine" presStyleLbl="alignNode1" presStyleIdx="0" presStyleCnt="2"/>
      <dgm:spPr/>
    </dgm:pt>
    <dgm:pt modelId="{12AF0310-76C5-E44B-85BC-6A2E54D4C446}" type="pres">
      <dgm:prSet presAssocID="{CF0461F7-EC97-BB41-A574-9C1E3009EACC}" presName="horz1" presStyleCnt="0"/>
      <dgm:spPr/>
    </dgm:pt>
    <dgm:pt modelId="{B1486FC8-F46E-7440-8CD7-19467AEDE721}" type="pres">
      <dgm:prSet presAssocID="{CF0461F7-EC97-BB41-A574-9C1E3009EACC}" presName="tx1" presStyleLbl="revTx" presStyleIdx="0" presStyleCnt="2"/>
      <dgm:spPr/>
    </dgm:pt>
    <dgm:pt modelId="{B52A4E9D-885B-4B43-B2FF-132A9ADA6910}" type="pres">
      <dgm:prSet presAssocID="{CF0461F7-EC97-BB41-A574-9C1E3009EACC}" presName="vert1" presStyleCnt="0"/>
      <dgm:spPr/>
    </dgm:pt>
    <dgm:pt modelId="{7CF4166D-BA5A-974A-AE0B-CB5D75C56027}" type="pres">
      <dgm:prSet presAssocID="{6306B4F0-0BF6-414D-BBDB-4B362D062134}" presName="thickLine" presStyleLbl="alignNode1" presStyleIdx="1" presStyleCnt="2"/>
      <dgm:spPr/>
    </dgm:pt>
    <dgm:pt modelId="{CBFE720A-3192-894B-AFEB-16F6FC94FA4C}" type="pres">
      <dgm:prSet presAssocID="{6306B4F0-0BF6-414D-BBDB-4B362D062134}" presName="horz1" presStyleCnt="0"/>
      <dgm:spPr/>
    </dgm:pt>
    <dgm:pt modelId="{69BED8FA-7A74-9D4C-B707-690C02017FEA}" type="pres">
      <dgm:prSet presAssocID="{6306B4F0-0BF6-414D-BBDB-4B362D062134}" presName="tx1" presStyleLbl="revTx" presStyleIdx="1" presStyleCnt="2"/>
      <dgm:spPr/>
    </dgm:pt>
    <dgm:pt modelId="{4ADFD291-4837-844A-AEAA-06910C7FF10E}" type="pres">
      <dgm:prSet presAssocID="{6306B4F0-0BF6-414D-BBDB-4B362D062134}" presName="vert1" presStyleCnt="0"/>
      <dgm:spPr/>
    </dgm:pt>
  </dgm:ptLst>
  <dgm:cxnLst>
    <dgm:cxn modelId="{F010FB26-F216-C542-A531-58DFFC6C40BD}" type="presOf" srcId="{6306B4F0-0BF6-414D-BBDB-4B362D062134}" destId="{69BED8FA-7A74-9D4C-B707-690C02017FEA}" srcOrd="0" destOrd="0" presId="urn:microsoft.com/office/officeart/2008/layout/LinedList"/>
    <dgm:cxn modelId="{D1EE7E6E-D6B9-2441-AB7E-F4D0154D5696}" type="presOf" srcId="{CF0461F7-EC97-BB41-A574-9C1E3009EACC}" destId="{B1486FC8-F46E-7440-8CD7-19467AEDE721}"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04D667D6-88F2-9C43-89F5-E31C711C0AE1}" srcId="{02BA0D8E-884F-D545-BFF7-95207C181DAB}" destId="{6306B4F0-0BF6-414D-BBDB-4B362D062134}" srcOrd="1" destOrd="0" parTransId="{63095D2F-B22F-CE4B-A169-B400C8581FF5}" sibTransId="{F9D809FD-42E8-3C46-AA5B-C0252A438BDB}"/>
    <dgm:cxn modelId="{723779DC-13E9-D947-AE3F-D6FE81448880}" type="presOf" srcId="{02BA0D8E-884F-D545-BFF7-95207C181DAB}" destId="{A6EB87D4-9C4B-ED4B-AA8D-93C962CBE857}" srcOrd="0" destOrd="0" presId="urn:microsoft.com/office/officeart/2008/layout/LinedList"/>
    <dgm:cxn modelId="{2BEF6E87-0C4F-3D44-9D35-88BB6EB1F614}" type="presParOf" srcId="{A6EB87D4-9C4B-ED4B-AA8D-93C962CBE857}" destId="{35572FB8-E92E-8E4A-A3DA-12ECF1117C5A}" srcOrd="0" destOrd="0" presId="urn:microsoft.com/office/officeart/2008/layout/LinedList"/>
    <dgm:cxn modelId="{5504CFF6-D85C-CD4C-B8C1-8F62B08DC771}" type="presParOf" srcId="{A6EB87D4-9C4B-ED4B-AA8D-93C962CBE857}" destId="{12AF0310-76C5-E44B-85BC-6A2E54D4C446}" srcOrd="1" destOrd="0" presId="urn:microsoft.com/office/officeart/2008/layout/LinedList"/>
    <dgm:cxn modelId="{EFE86BDE-9B2E-A940-AC14-194ACA730518}" type="presParOf" srcId="{12AF0310-76C5-E44B-85BC-6A2E54D4C446}" destId="{B1486FC8-F46E-7440-8CD7-19467AEDE721}" srcOrd="0" destOrd="0" presId="urn:microsoft.com/office/officeart/2008/layout/LinedList"/>
    <dgm:cxn modelId="{E663700A-29C1-194B-812C-26C629E0A639}" type="presParOf" srcId="{12AF0310-76C5-E44B-85BC-6A2E54D4C446}" destId="{B52A4E9D-885B-4B43-B2FF-132A9ADA6910}" srcOrd="1" destOrd="0" presId="urn:microsoft.com/office/officeart/2008/layout/LinedList"/>
    <dgm:cxn modelId="{8C30BBB7-E104-5B41-B030-487C5E041485}" type="presParOf" srcId="{A6EB87D4-9C4B-ED4B-AA8D-93C962CBE857}" destId="{7CF4166D-BA5A-974A-AE0B-CB5D75C56027}" srcOrd="2" destOrd="0" presId="urn:microsoft.com/office/officeart/2008/layout/LinedList"/>
    <dgm:cxn modelId="{703C99F4-C3BA-6343-8EA9-3798DED55EB5}" type="presParOf" srcId="{A6EB87D4-9C4B-ED4B-AA8D-93C962CBE857}" destId="{CBFE720A-3192-894B-AFEB-16F6FC94FA4C}" srcOrd="3" destOrd="0" presId="urn:microsoft.com/office/officeart/2008/layout/LinedList"/>
    <dgm:cxn modelId="{2E5835CE-612E-7744-9509-5733BD3226CB}" type="presParOf" srcId="{CBFE720A-3192-894B-AFEB-16F6FC94FA4C}" destId="{69BED8FA-7A74-9D4C-B707-690C02017FEA}" srcOrd="0" destOrd="0" presId="urn:microsoft.com/office/officeart/2008/layout/LinedList"/>
    <dgm:cxn modelId="{97F2428B-352F-7540-B0C2-D920D3BB7B70}" type="presParOf" srcId="{CBFE720A-3192-894B-AFEB-16F6FC94FA4C}" destId="{4ADFD291-4837-844A-AEAA-06910C7FF10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BBC5B5-B7F0-204E-AB6E-9F5A84169898}">
      <dsp:nvSpPr>
        <dsp:cNvPr id="0" name=""/>
        <dsp:cNvSpPr/>
      </dsp:nvSpPr>
      <dsp:spPr>
        <a:xfrm>
          <a:off x="0" y="1317"/>
          <a:ext cx="389114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09073C2E-2F31-D04E-A470-5831DA3856A1}">
      <dsp:nvSpPr>
        <dsp:cNvPr id="0" name=""/>
        <dsp:cNvSpPr/>
      </dsp:nvSpPr>
      <dsp:spPr>
        <a:xfrm>
          <a:off x="0" y="1317"/>
          <a:ext cx="3891147" cy="8982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marL="0" lvl="0" indent="0" algn="l" defTabSz="1689100" rtl="0">
            <a:lnSpc>
              <a:spcPct val="90000"/>
            </a:lnSpc>
            <a:spcBef>
              <a:spcPct val="0"/>
            </a:spcBef>
            <a:spcAft>
              <a:spcPct val="35000"/>
            </a:spcAft>
            <a:buNone/>
          </a:pPr>
          <a:r>
            <a:rPr lang="en-CA" sz="3800" kern="1200" dirty="0"/>
            <a:t>setting up</a:t>
          </a:r>
        </a:p>
      </dsp:txBody>
      <dsp:txXfrm>
        <a:off x="0" y="1317"/>
        <a:ext cx="3891147" cy="898209"/>
      </dsp:txXfrm>
    </dsp:sp>
    <dsp:sp modelId="{51805EAD-1D1D-4248-BA05-39E2B3B845A1}">
      <dsp:nvSpPr>
        <dsp:cNvPr id="0" name=""/>
        <dsp:cNvSpPr/>
      </dsp:nvSpPr>
      <dsp:spPr>
        <a:xfrm>
          <a:off x="0" y="899526"/>
          <a:ext cx="389114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CBA81345-7403-1D4A-8BF9-22D5C1B8083A}">
      <dsp:nvSpPr>
        <dsp:cNvPr id="0" name=""/>
        <dsp:cNvSpPr/>
      </dsp:nvSpPr>
      <dsp:spPr>
        <a:xfrm>
          <a:off x="0" y="899526"/>
          <a:ext cx="3891147" cy="8982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marL="0" lvl="0" indent="0" algn="l" defTabSz="1689100" rtl="0">
            <a:lnSpc>
              <a:spcPct val="90000"/>
            </a:lnSpc>
            <a:spcBef>
              <a:spcPct val="0"/>
            </a:spcBef>
            <a:spcAft>
              <a:spcPct val="35000"/>
            </a:spcAft>
            <a:buNone/>
          </a:pPr>
          <a:r>
            <a:rPr lang="en-CA" sz="3800" kern="1200" dirty="0"/>
            <a:t>sole practitioner</a:t>
          </a:r>
        </a:p>
      </dsp:txBody>
      <dsp:txXfrm>
        <a:off x="0" y="899526"/>
        <a:ext cx="3891147" cy="898209"/>
      </dsp:txXfrm>
    </dsp:sp>
    <dsp:sp modelId="{B64A8D7D-2C58-8640-A729-D863EB7F8779}">
      <dsp:nvSpPr>
        <dsp:cNvPr id="0" name=""/>
        <dsp:cNvSpPr/>
      </dsp:nvSpPr>
      <dsp:spPr>
        <a:xfrm>
          <a:off x="0" y="1797736"/>
          <a:ext cx="389114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D78CD1B-E18E-2F49-AB8B-57D6AB8CB08D}">
      <dsp:nvSpPr>
        <dsp:cNvPr id="0" name=""/>
        <dsp:cNvSpPr/>
      </dsp:nvSpPr>
      <dsp:spPr>
        <a:xfrm>
          <a:off x="0" y="1797736"/>
          <a:ext cx="3891147" cy="8982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marL="0" lvl="0" indent="0" algn="l" defTabSz="1689100" rtl="0">
            <a:lnSpc>
              <a:spcPct val="90000"/>
            </a:lnSpc>
            <a:spcBef>
              <a:spcPct val="0"/>
            </a:spcBef>
            <a:spcAft>
              <a:spcPct val="35000"/>
            </a:spcAft>
            <a:buNone/>
          </a:pPr>
          <a:r>
            <a:rPr lang="en-CA" sz="3800" kern="1200" dirty="0"/>
            <a:t>shared database</a:t>
          </a:r>
        </a:p>
      </dsp:txBody>
      <dsp:txXfrm>
        <a:off x="0" y="1797736"/>
        <a:ext cx="3891147" cy="89820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13</a:t>
          </a:r>
        </a:p>
      </dsp:txBody>
      <dsp:txXfrm>
        <a:off x="179383" y="198196"/>
        <a:ext cx="866141" cy="86614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BEDE8D-3EEC-0143-A148-4A851DAE17D4}">
      <dsp:nvSpPr>
        <dsp:cNvPr id="0" name=""/>
        <dsp:cNvSpPr/>
      </dsp:nvSpPr>
      <dsp:spPr>
        <a:xfrm>
          <a:off x="0" y="0"/>
          <a:ext cx="5486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EBE2508-4726-3C4A-8933-41FE55A6CE08}">
      <dsp:nvSpPr>
        <dsp:cNvPr id="0" name=""/>
        <dsp:cNvSpPr/>
      </dsp:nvSpPr>
      <dsp:spPr>
        <a:xfrm>
          <a:off x="0" y="0"/>
          <a:ext cx="5486400" cy="1408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rtl="0">
            <a:lnSpc>
              <a:spcPct val="90000"/>
            </a:lnSpc>
            <a:spcBef>
              <a:spcPct val="0"/>
            </a:spcBef>
            <a:spcAft>
              <a:spcPct val="35000"/>
            </a:spcAft>
            <a:buNone/>
          </a:pPr>
          <a:r>
            <a:rPr lang="en-CA" sz="4000" kern="1200" dirty="0"/>
            <a:t>printing reports</a:t>
          </a:r>
        </a:p>
      </dsp:txBody>
      <dsp:txXfrm>
        <a:off x="0" y="0"/>
        <a:ext cx="5486400" cy="1408122"/>
      </dsp:txXfrm>
    </dsp:sp>
    <dsp:sp modelId="{A8346F19-D3CD-4444-B51A-FEADE275C9C5}">
      <dsp:nvSpPr>
        <dsp:cNvPr id="0" name=""/>
        <dsp:cNvSpPr/>
      </dsp:nvSpPr>
      <dsp:spPr>
        <a:xfrm>
          <a:off x="0" y="1408122"/>
          <a:ext cx="5486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23313E22-FDA1-EA42-B51C-333E117AE3D0}">
      <dsp:nvSpPr>
        <dsp:cNvPr id="0" name=""/>
        <dsp:cNvSpPr/>
      </dsp:nvSpPr>
      <dsp:spPr>
        <a:xfrm>
          <a:off x="0" y="1408122"/>
          <a:ext cx="5486400" cy="14081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rtl="0">
            <a:lnSpc>
              <a:spcPct val="90000"/>
            </a:lnSpc>
            <a:spcBef>
              <a:spcPct val="0"/>
            </a:spcBef>
            <a:spcAft>
              <a:spcPct val="35000"/>
            </a:spcAft>
            <a:buNone/>
          </a:pPr>
          <a:r>
            <a:rPr lang="en-CA" sz="4000" kern="1200" dirty="0"/>
            <a:t>labels</a:t>
          </a:r>
        </a:p>
      </dsp:txBody>
      <dsp:txXfrm>
        <a:off x="0" y="1408122"/>
        <a:ext cx="5486400" cy="140812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b="1" kern="1200" dirty="0">
              <a:solidFill>
                <a:schemeClr val="bg1"/>
              </a:solidFill>
            </a:rPr>
            <a:t>Pages 15-25</a:t>
          </a:r>
        </a:p>
      </dsp:txBody>
      <dsp:txXfrm>
        <a:off x="179383" y="198196"/>
        <a:ext cx="866141" cy="866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6</a:t>
          </a:r>
        </a:p>
      </dsp:txBody>
      <dsp:txXfrm>
        <a:off x="179383" y="198196"/>
        <a:ext cx="866141" cy="8661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5B35EF-7E34-EB43-B2EA-74D3E4C5F99B}">
      <dsp:nvSpPr>
        <dsp:cNvPr id="0" name=""/>
        <dsp:cNvSpPr/>
      </dsp:nvSpPr>
      <dsp:spPr>
        <a:xfrm>
          <a:off x="0" y="0"/>
          <a:ext cx="373874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14E32B7-9C32-B548-A18A-7AD5E3E51261}">
      <dsp:nvSpPr>
        <dsp:cNvPr id="0" name=""/>
        <dsp:cNvSpPr/>
      </dsp:nvSpPr>
      <dsp:spPr>
        <a:xfrm>
          <a:off x="0" y="0"/>
          <a:ext cx="3738747" cy="1143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rtl="0">
            <a:lnSpc>
              <a:spcPct val="90000"/>
            </a:lnSpc>
            <a:spcBef>
              <a:spcPct val="0"/>
            </a:spcBef>
            <a:spcAft>
              <a:spcPct val="35000"/>
            </a:spcAft>
            <a:buNone/>
          </a:pPr>
          <a:r>
            <a:rPr lang="en-CA" sz="3400" kern="1200" dirty="0"/>
            <a:t>indexing</a:t>
          </a:r>
        </a:p>
      </dsp:txBody>
      <dsp:txXfrm>
        <a:off x="0" y="0"/>
        <a:ext cx="3738747" cy="1143000"/>
      </dsp:txXfrm>
    </dsp:sp>
    <dsp:sp modelId="{54D197BB-9C06-104B-BB27-4E3E79CCA443}">
      <dsp:nvSpPr>
        <dsp:cNvPr id="0" name=""/>
        <dsp:cNvSpPr/>
      </dsp:nvSpPr>
      <dsp:spPr>
        <a:xfrm>
          <a:off x="0" y="1143000"/>
          <a:ext cx="373874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F9315DFA-2A8F-9D40-BAB1-6793B7E1F3DC}">
      <dsp:nvSpPr>
        <dsp:cNvPr id="0" name=""/>
        <dsp:cNvSpPr/>
      </dsp:nvSpPr>
      <dsp:spPr>
        <a:xfrm>
          <a:off x="0" y="1143000"/>
          <a:ext cx="3738747" cy="1143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rtl="0">
            <a:lnSpc>
              <a:spcPct val="90000"/>
            </a:lnSpc>
            <a:spcBef>
              <a:spcPct val="0"/>
            </a:spcBef>
            <a:spcAft>
              <a:spcPct val="35000"/>
            </a:spcAft>
            <a:buNone/>
          </a:pPr>
          <a:r>
            <a:rPr lang="en-CA" sz="3400" kern="1200" dirty="0"/>
            <a:t>first-time use only</a:t>
          </a:r>
        </a:p>
      </dsp:txBody>
      <dsp:txXfrm>
        <a:off x="0" y="1143000"/>
        <a:ext cx="3738747" cy="1143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b="1" kern="1200" dirty="0">
              <a:solidFill>
                <a:schemeClr val="bg1"/>
              </a:solidFill>
            </a:rPr>
            <a:t>Pages 8-9</a:t>
          </a:r>
        </a:p>
      </dsp:txBody>
      <dsp:txXfrm>
        <a:off x="179383" y="198196"/>
        <a:ext cx="866141" cy="86614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0664F4-703D-6642-90C5-E1763B90A5AC}">
      <dsp:nvSpPr>
        <dsp:cNvPr id="0" name=""/>
        <dsp:cNvSpPr/>
      </dsp:nvSpPr>
      <dsp:spPr>
        <a:xfrm>
          <a:off x="0" y="0"/>
          <a:ext cx="39878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7EF1279-56F3-644A-82F2-03EAF197135E}">
      <dsp:nvSpPr>
        <dsp:cNvPr id="0" name=""/>
        <dsp:cNvSpPr/>
      </dsp:nvSpPr>
      <dsp:spPr>
        <a:xfrm>
          <a:off x="0" y="0"/>
          <a:ext cx="797560" cy="1982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CA" sz="2000" kern="1200" dirty="0"/>
            <a:t>views</a:t>
          </a:r>
        </a:p>
      </dsp:txBody>
      <dsp:txXfrm>
        <a:off x="0" y="0"/>
        <a:ext cx="797560" cy="1982201"/>
      </dsp:txXfrm>
    </dsp:sp>
    <dsp:sp modelId="{9D8BE4C8-BE27-F945-AD29-339178606DFE}">
      <dsp:nvSpPr>
        <dsp:cNvPr id="0" name=""/>
        <dsp:cNvSpPr/>
      </dsp:nvSpPr>
      <dsp:spPr>
        <a:xfrm>
          <a:off x="857377" y="90012"/>
          <a:ext cx="3130423" cy="1800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dirty="0"/>
            <a:t>contact view</a:t>
          </a:r>
        </a:p>
      </dsp:txBody>
      <dsp:txXfrm>
        <a:off x="857377" y="90012"/>
        <a:ext cx="3130423" cy="1800241"/>
      </dsp:txXfrm>
    </dsp:sp>
    <dsp:sp modelId="{F6F783D0-050D-2B4F-AEC4-D78B494A41A8}">
      <dsp:nvSpPr>
        <dsp:cNvPr id="0" name=""/>
        <dsp:cNvSpPr/>
      </dsp:nvSpPr>
      <dsp:spPr>
        <a:xfrm>
          <a:off x="797560" y="1890253"/>
          <a:ext cx="319024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C72F973C-9329-D141-92E7-609BDE1C7344}">
      <dsp:nvSpPr>
        <dsp:cNvPr id="0" name=""/>
        <dsp:cNvSpPr/>
      </dsp:nvSpPr>
      <dsp:spPr>
        <a:xfrm>
          <a:off x="0" y="1982201"/>
          <a:ext cx="39878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98C3F42B-C2A2-FE46-A527-B73E96D1919F}">
      <dsp:nvSpPr>
        <dsp:cNvPr id="0" name=""/>
        <dsp:cNvSpPr/>
      </dsp:nvSpPr>
      <dsp:spPr>
        <a:xfrm>
          <a:off x="0" y="1982201"/>
          <a:ext cx="797560" cy="1982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CA" sz="2000" kern="1200" dirty="0"/>
            <a:t>filters</a:t>
          </a:r>
        </a:p>
      </dsp:txBody>
      <dsp:txXfrm>
        <a:off x="0" y="1982201"/>
        <a:ext cx="797560" cy="1982201"/>
      </dsp:txXfrm>
    </dsp:sp>
    <dsp:sp modelId="{F75F9221-7D15-EB49-85D1-8FE03477079E}">
      <dsp:nvSpPr>
        <dsp:cNvPr id="0" name=""/>
        <dsp:cNvSpPr/>
      </dsp:nvSpPr>
      <dsp:spPr>
        <a:xfrm>
          <a:off x="857377" y="2028272"/>
          <a:ext cx="3130423" cy="921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rtl="0">
            <a:lnSpc>
              <a:spcPct val="90000"/>
            </a:lnSpc>
            <a:spcBef>
              <a:spcPct val="0"/>
            </a:spcBef>
            <a:spcAft>
              <a:spcPct val="35000"/>
            </a:spcAft>
            <a:buNone/>
          </a:pPr>
          <a:r>
            <a:rPr lang="en-CA" sz="3200" kern="1200" dirty="0"/>
            <a:t>pre-set</a:t>
          </a:r>
          <a:endParaRPr lang="en-CA" sz="2800" kern="1200" dirty="0"/>
        </a:p>
      </dsp:txBody>
      <dsp:txXfrm>
        <a:off x="857377" y="2028272"/>
        <a:ext cx="3130423" cy="921413"/>
      </dsp:txXfrm>
    </dsp:sp>
    <dsp:sp modelId="{BB29EAD1-2C42-0A42-84E3-7CDE05C5170F}">
      <dsp:nvSpPr>
        <dsp:cNvPr id="0" name=""/>
        <dsp:cNvSpPr/>
      </dsp:nvSpPr>
      <dsp:spPr>
        <a:xfrm>
          <a:off x="797560" y="2949686"/>
          <a:ext cx="319024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6950C0BE-9047-7646-ADF4-3656ACAF9222}">
      <dsp:nvSpPr>
        <dsp:cNvPr id="0" name=""/>
        <dsp:cNvSpPr/>
      </dsp:nvSpPr>
      <dsp:spPr>
        <a:xfrm>
          <a:off x="857377" y="2995756"/>
          <a:ext cx="3130423" cy="921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rtl="0">
            <a:lnSpc>
              <a:spcPct val="90000"/>
            </a:lnSpc>
            <a:spcBef>
              <a:spcPct val="0"/>
            </a:spcBef>
            <a:spcAft>
              <a:spcPct val="35000"/>
            </a:spcAft>
            <a:buNone/>
          </a:pPr>
          <a:r>
            <a:rPr lang="en-CA" sz="3200" kern="1200" dirty="0"/>
            <a:t>customizable</a:t>
          </a:r>
        </a:p>
      </dsp:txBody>
      <dsp:txXfrm>
        <a:off x="857377" y="2995756"/>
        <a:ext cx="3130423" cy="921413"/>
      </dsp:txXfrm>
    </dsp:sp>
    <dsp:sp modelId="{A28A457C-BE28-D14A-93AC-D5F3E0518E59}">
      <dsp:nvSpPr>
        <dsp:cNvPr id="0" name=""/>
        <dsp:cNvSpPr/>
      </dsp:nvSpPr>
      <dsp:spPr>
        <a:xfrm>
          <a:off x="797560" y="3917170"/>
          <a:ext cx="319024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b="1" kern="1200" dirty="0">
              <a:solidFill>
                <a:schemeClr val="bg1"/>
              </a:solidFill>
            </a:rPr>
            <a:t>Pages 9-10</a:t>
          </a:r>
        </a:p>
      </dsp:txBody>
      <dsp:txXfrm>
        <a:off x="179383" y="198196"/>
        <a:ext cx="866141" cy="86614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7984E4-4C19-0A4D-8F93-A30B31B97B99}">
      <dsp:nvSpPr>
        <dsp:cNvPr id="0" name=""/>
        <dsp:cNvSpPr/>
      </dsp:nvSpPr>
      <dsp:spPr>
        <a:xfrm>
          <a:off x="0" y="0"/>
          <a:ext cx="3219008"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4BF5124A-B7F1-AA44-A4D8-966F26D9CE8C}">
      <dsp:nvSpPr>
        <dsp:cNvPr id="0" name=""/>
        <dsp:cNvSpPr/>
      </dsp:nvSpPr>
      <dsp:spPr>
        <a:xfrm>
          <a:off x="0" y="0"/>
          <a:ext cx="643801" cy="16375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rtl="0">
            <a:lnSpc>
              <a:spcPct val="90000"/>
            </a:lnSpc>
            <a:spcBef>
              <a:spcPct val="0"/>
            </a:spcBef>
            <a:spcAft>
              <a:spcPct val="35000"/>
            </a:spcAft>
            <a:buNone/>
          </a:pPr>
          <a:r>
            <a:rPr lang="en-CA" sz="1400" kern="1200"/>
            <a:t>search</a:t>
          </a:r>
          <a:endParaRPr lang="en-CA" sz="1400" kern="1200" dirty="0"/>
        </a:p>
      </dsp:txBody>
      <dsp:txXfrm>
        <a:off x="0" y="0"/>
        <a:ext cx="643801" cy="1637563"/>
      </dsp:txXfrm>
    </dsp:sp>
    <dsp:sp modelId="{FDA373F4-F934-B04C-AF66-52EA484CE59A}">
      <dsp:nvSpPr>
        <dsp:cNvPr id="0" name=""/>
        <dsp:cNvSpPr/>
      </dsp:nvSpPr>
      <dsp:spPr>
        <a:xfrm>
          <a:off x="692086" y="74362"/>
          <a:ext cx="2526921" cy="1487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find files</a:t>
          </a:r>
        </a:p>
      </dsp:txBody>
      <dsp:txXfrm>
        <a:off x="692086" y="74362"/>
        <a:ext cx="2526921" cy="1487240"/>
      </dsp:txXfrm>
    </dsp:sp>
    <dsp:sp modelId="{58006B48-EE07-3844-B5B3-BEFFC87C9D1B}">
      <dsp:nvSpPr>
        <dsp:cNvPr id="0" name=""/>
        <dsp:cNvSpPr/>
      </dsp:nvSpPr>
      <dsp:spPr>
        <a:xfrm>
          <a:off x="643801" y="1561602"/>
          <a:ext cx="2575206"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4DDDB32D-E1C9-B84F-B8EC-AE3950E9849E}">
      <dsp:nvSpPr>
        <dsp:cNvPr id="0" name=""/>
        <dsp:cNvSpPr/>
      </dsp:nvSpPr>
      <dsp:spPr>
        <a:xfrm>
          <a:off x="0" y="1637563"/>
          <a:ext cx="3219008"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BA32F00-3709-034B-9B12-ED115D3B8198}">
      <dsp:nvSpPr>
        <dsp:cNvPr id="0" name=""/>
        <dsp:cNvSpPr/>
      </dsp:nvSpPr>
      <dsp:spPr>
        <a:xfrm>
          <a:off x="0" y="1637563"/>
          <a:ext cx="643801" cy="16375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rtl="0">
            <a:lnSpc>
              <a:spcPct val="90000"/>
            </a:lnSpc>
            <a:spcBef>
              <a:spcPct val="0"/>
            </a:spcBef>
            <a:spcAft>
              <a:spcPct val="35000"/>
            </a:spcAft>
            <a:buNone/>
          </a:pPr>
          <a:r>
            <a:rPr lang="en-CA" sz="1400" kern="1200" dirty="0"/>
            <a:t>right-click</a:t>
          </a:r>
        </a:p>
      </dsp:txBody>
      <dsp:txXfrm>
        <a:off x="0" y="1637563"/>
        <a:ext cx="643801" cy="1637563"/>
      </dsp:txXfrm>
    </dsp:sp>
    <dsp:sp modelId="{4C22CD23-0647-7B4C-B6F8-D673507C024C}">
      <dsp:nvSpPr>
        <dsp:cNvPr id="0" name=""/>
        <dsp:cNvSpPr/>
      </dsp:nvSpPr>
      <dsp:spPr>
        <a:xfrm>
          <a:off x="692086" y="1711925"/>
          <a:ext cx="2526921" cy="1487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more menus</a:t>
          </a:r>
        </a:p>
      </dsp:txBody>
      <dsp:txXfrm>
        <a:off x="692086" y="1711925"/>
        <a:ext cx="2526921" cy="1487240"/>
      </dsp:txXfrm>
    </dsp:sp>
    <dsp:sp modelId="{0AB693E4-2013-1C42-8848-655F17701D4A}">
      <dsp:nvSpPr>
        <dsp:cNvPr id="0" name=""/>
        <dsp:cNvSpPr/>
      </dsp:nvSpPr>
      <dsp:spPr>
        <a:xfrm>
          <a:off x="643801" y="3199165"/>
          <a:ext cx="2575206"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r>
            <a:rPr lang="en-US" sz="2700" b="1" kern="1200" dirty="0">
              <a:solidFill>
                <a:schemeClr val="bg1"/>
              </a:solidFill>
            </a:rPr>
            <a:t>Page</a:t>
          </a:r>
        </a:p>
        <a:p>
          <a:pPr marL="0" lvl="0" indent="0" algn="ctr" defTabSz="1200150">
            <a:lnSpc>
              <a:spcPct val="90000"/>
            </a:lnSpc>
            <a:spcBef>
              <a:spcPct val="0"/>
            </a:spcBef>
            <a:spcAft>
              <a:spcPct val="35000"/>
            </a:spcAft>
            <a:buNone/>
          </a:pPr>
          <a:r>
            <a:rPr lang="en-US" sz="2700" b="1" kern="1200" dirty="0">
              <a:solidFill>
                <a:schemeClr val="bg1"/>
              </a:solidFill>
            </a:rPr>
            <a:t>11-12</a:t>
          </a:r>
        </a:p>
      </dsp:txBody>
      <dsp:txXfrm>
        <a:off x="179383" y="198196"/>
        <a:ext cx="866141" cy="86614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572FB8-E92E-8E4A-A3DA-12ECF1117C5A}">
      <dsp:nvSpPr>
        <dsp:cNvPr id="0" name=""/>
        <dsp:cNvSpPr/>
      </dsp:nvSpPr>
      <dsp:spPr>
        <a:xfrm>
          <a:off x="0" y="0"/>
          <a:ext cx="2668372"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1486FC8-F46E-7440-8CD7-19467AEDE721}">
      <dsp:nvSpPr>
        <dsp:cNvPr id="0" name=""/>
        <dsp:cNvSpPr/>
      </dsp:nvSpPr>
      <dsp:spPr>
        <a:xfrm>
          <a:off x="0" y="0"/>
          <a:ext cx="2668372" cy="11504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830" tIns="163830" rIns="163830" bIns="163830" numCol="1" spcCol="1270" anchor="t" anchorCtr="0">
          <a:noAutofit/>
        </a:bodyPr>
        <a:lstStyle/>
        <a:p>
          <a:pPr marL="0" lvl="0" indent="0" algn="l" defTabSz="1911350" rtl="0">
            <a:lnSpc>
              <a:spcPct val="90000"/>
            </a:lnSpc>
            <a:spcBef>
              <a:spcPct val="0"/>
            </a:spcBef>
            <a:spcAft>
              <a:spcPct val="35000"/>
            </a:spcAft>
            <a:buNone/>
          </a:pPr>
          <a:r>
            <a:rPr lang="en-CA" sz="4300" kern="1200" dirty="0"/>
            <a:t>EFILE</a:t>
          </a:r>
        </a:p>
      </dsp:txBody>
      <dsp:txXfrm>
        <a:off x="0" y="0"/>
        <a:ext cx="2668372" cy="1150465"/>
      </dsp:txXfrm>
    </dsp:sp>
    <dsp:sp modelId="{7CF4166D-BA5A-974A-AE0B-CB5D75C56027}">
      <dsp:nvSpPr>
        <dsp:cNvPr id="0" name=""/>
        <dsp:cNvSpPr/>
      </dsp:nvSpPr>
      <dsp:spPr>
        <a:xfrm>
          <a:off x="0" y="1150465"/>
          <a:ext cx="2668372"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9BED8FA-7A74-9D4C-B707-690C02017FEA}">
      <dsp:nvSpPr>
        <dsp:cNvPr id="0" name=""/>
        <dsp:cNvSpPr/>
      </dsp:nvSpPr>
      <dsp:spPr>
        <a:xfrm>
          <a:off x="0" y="1150465"/>
          <a:ext cx="2668372" cy="11504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830" tIns="163830" rIns="163830" bIns="163830" numCol="1" spcCol="1270" anchor="t" anchorCtr="0">
          <a:noAutofit/>
        </a:bodyPr>
        <a:lstStyle/>
        <a:p>
          <a:pPr marL="0" lvl="0" indent="0" algn="l" defTabSz="1911350" rtl="0">
            <a:lnSpc>
              <a:spcPct val="90000"/>
            </a:lnSpc>
            <a:spcBef>
              <a:spcPct val="0"/>
            </a:spcBef>
            <a:spcAft>
              <a:spcPct val="35000"/>
            </a:spcAft>
            <a:buNone/>
          </a:pPr>
          <a:r>
            <a:rPr lang="en-CA" sz="4300" kern="1200" dirty="0"/>
            <a:t>Exporting</a:t>
          </a:r>
        </a:p>
      </dsp:txBody>
      <dsp:txXfrm>
        <a:off x="0" y="1150465"/>
        <a:ext cx="2668372" cy="1150465"/>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2020-12-13</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2/13/20</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Client Explorer is a database, built into ProFile, that helps you view and manage your clients and their files. With Client Explorer, you can create custom filters that let you open, </a:t>
            </a:r>
            <a:r>
              <a:rPr lang="en-CA" sz="1200" kern="1200" dirty="0" err="1">
                <a:solidFill>
                  <a:schemeClr val="tx1"/>
                </a:solidFill>
                <a:effectLst/>
                <a:latin typeface="+mn-lt"/>
                <a:ea typeface="+mn-ea"/>
                <a:cs typeface="+mn-cs"/>
              </a:rPr>
              <a:t>carryforward</a:t>
            </a:r>
            <a:r>
              <a:rPr lang="en-CA" sz="1200" kern="1200" dirty="0">
                <a:solidFill>
                  <a:schemeClr val="tx1"/>
                </a:solidFill>
                <a:effectLst/>
                <a:latin typeface="+mn-lt"/>
                <a:ea typeface="+mn-ea"/>
                <a:cs typeface="+mn-cs"/>
              </a:rPr>
              <a:t> and batch EFILE tax returns, and export and print information on your client and their tax files.  </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The first time you save a new client file, Client Explorer automatically adds a record for that client to the database. And whenever you make a change to a client file, ProFile updates the record for that client. </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Client Explorer does not store all of the data found in each individual client file. Instead, it contains references to the file location. However, you can still print reports and export files that include the data from those client files. Also, you must use Client Explorer to print groups of returns or to file groups of returns by EFILE. </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It’s important to note that, in addition to Client Explorer, ProFile offers a separate and functionally-different client database called </a:t>
            </a:r>
            <a:r>
              <a:rPr lang="en-CA" sz="1200" i="1" kern="1200" dirty="0">
                <a:solidFill>
                  <a:schemeClr val="tx1"/>
                </a:solidFill>
                <a:effectLst/>
                <a:latin typeface="+mn-lt"/>
                <a:ea typeface="+mn-ea"/>
                <a:cs typeface="+mn-cs"/>
              </a:rPr>
              <a:t>Classic Database. </a:t>
            </a:r>
            <a:r>
              <a:rPr lang="en-CA" sz="1200" kern="1200" dirty="0">
                <a:solidFill>
                  <a:schemeClr val="tx1"/>
                </a:solidFill>
                <a:effectLst/>
                <a:latin typeface="+mn-lt"/>
                <a:ea typeface="+mn-ea"/>
                <a:cs typeface="+mn-cs"/>
              </a:rPr>
              <a:t>This booklet only covers Client Explorer.</a:t>
            </a:r>
            <a:endParaRPr lang="en-US" sz="1200" kern="1200" dirty="0">
              <a:solidFill>
                <a:schemeClr val="tx1"/>
              </a:solidFill>
              <a:effectLst/>
              <a:latin typeface="+mn-lt"/>
              <a:ea typeface="+mn-ea"/>
              <a:cs typeface="+mn-cs"/>
            </a:endParaRPr>
          </a:p>
          <a:p>
            <a:r>
              <a:rPr lang="en-CA" sz="1200" b="1" i="1" kern="1200" dirty="0">
                <a:solidFill>
                  <a:schemeClr val="tx1"/>
                </a:solidFill>
                <a:effectLst/>
                <a:latin typeface="+mn-lt"/>
                <a:ea typeface="+mn-ea"/>
                <a:cs typeface="+mn-cs"/>
              </a:rPr>
              <a:t>Note</a:t>
            </a:r>
            <a:r>
              <a:rPr lang="en-CA" sz="1200" i="1" kern="1200" dirty="0">
                <a:solidFill>
                  <a:schemeClr val="tx1"/>
                </a:solidFill>
                <a:effectLst/>
                <a:latin typeface="+mn-lt"/>
                <a:ea typeface="+mn-ea"/>
                <a:cs typeface="+mn-cs"/>
              </a:rPr>
              <a:t>: You can use either the Classic Database or Client Explorer — not both.</a:t>
            </a:r>
            <a:endParaRPr lang="en-US" sz="120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1365624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6 and Demo client explorer setup for a sole practitioner </a:t>
            </a:r>
          </a:p>
          <a:p>
            <a:r>
              <a:rPr lang="en-US" baseline="0" dirty="0"/>
              <a:t>and a shared database P7</a:t>
            </a:r>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9778644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s 8-9 and show how to index files</a:t>
            </a:r>
          </a:p>
          <a:p>
            <a:r>
              <a:rPr lang="en-US" baseline="0" dirty="0"/>
              <a:t>Mention we only do this the first time we launch Client Explorer</a:t>
            </a:r>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1525600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9 and show the pre-set views</a:t>
            </a:r>
          </a:p>
          <a:p>
            <a:r>
              <a:rPr lang="en-US" baseline="0" dirty="0"/>
              <a:t>Go to page 10 and discuss other views, including Contact</a:t>
            </a:r>
          </a:p>
          <a:p>
            <a:r>
              <a:rPr lang="en-US" baseline="0" dirty="0"/>
              <a:t>Go to page 10 and discuss the filters</a:t>
            </a:r>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058400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mo how to use search tool, get client contact info (P11)</a:t>
            </a:r>
          </a:p>
          <a:p>
            <a:r>
              <a:rPr lang="en-US" baseline="0" dirty="0"/>
              <a:t>Demo right-click files (P12)</a:t>
            </a:r>
          </a:p>
          <a:p>
            <a:endParaRPr lang="en-US" baseline="0" dirty="0"/>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1952354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Show how to EFILE (P13)</a:t>
            </a:r>
          </a:p>
          <a:p>
            <a:pPr marL="171450" indent="-171450">
              <a:buFontTx/>
              <a:buChar char="-"/>
            </a:pPr>
            <a:r>
              <a:rPr lang="en-US" baseline="0" dirty="0"/>
              <a:t>In left pane, click Select All</a:t>
            </a:r>
          </a:p>
          <a:p>
            <a:pPr marL="171450" indent="-171450">
              <a:buFontTx/>
              <a:buChar char="-"/>
            </a:pPr>
            <a:r>
              <a:rPr lang="en-US" baseline="0" dirty="0"/>
              <a:t>In the View dropdown, select EFILE Eligible</a:t>
            </a:r>
          </a:p>
          <a:p>
            <a:pPr marL="171450" indent="-171450">
              <a:buFontTx/>
              <a:buChar char="-"/>
            </a:pPr>
            <a:r>
              <a:rPr lang="en-US" baseline="0" dirty="0"/>
              <a:t>Click checkboxes of files to EFILE</a:t>
            </a:r>
          </a:p>
          <a:p>
            <a:pPr marL="171450" indent="-171450">
              <a:buFontTx/>
              <a:buChar char="-"/>
            </a:pPr>
            <a:r>
              <a:rPr lang="en-US" baseline="0" dirty="0"/>
              <a:t>In left pane, choose Build EFILE</a:t>
            </a:r>
          </a:p>
          <a:p>
            <a:pPr marL="171450" indent="-171450">
              <a:buFontTx/>
              <a:buChar char="-"/>
            </a:pPr>
            <a:r>
              <a:rPr lang="en-US" baseline="0" dirty="0"/>
              <a:t>Click OK then click Transmit Now</a:t>
            </a:r>
          </a:p>
          <a:p>
            <a:endParaRPr lang="en-US" baseline="0" dirty="0"/>
          </a:p>
          <a:p>
            <a:r>
              <a:rPr lang="en-US" baseline="0" dirty="0"/>
              <a:t>Show how to export reports (P14) WHEN YOU DEMO THIS, MAKE SURE TO NOTE THE FOLDER IN WHICH YOU SAVE YOUR .QEX &amp; .CSV FILES</a:t>
            </a:r>
          </a:p>
          <a:p>
            <a:pPr marL="171450" indent="-171450">
              <a:buFontTx/>
              <a:buChar char="-"/>
            </a:pPr>
            <a:r>
              <a:rPr lang="en-US" baseline="0" dirty="0"/>
              <a:t>Select client files and click Database &gt; Export</a:t>
            </a:r>
          </a:p>
          <a:p>
            <a:pPr marL="171450" indent="-171450">
              <a:buFontTx/>
              <a:buChar char="-"/>
            </a:pPr>
            <a:r>
              <a:rPr lang="en-US" baseline="0" dirty="0"/>
              <a:t>Click Options in the window that opens </a:t>
            </a:r>
          </a:p>
          <a:p>
            <a:pPr marL="171450" indent="-171450">
              <a:buFontTx/>
              <a:buChar char="-"/>
            </a:pPr>
            <a:r>
              <a:rPr lang="en-US" baseline="0" dirty="0"/>
              <a:t>On the Fields tab, click Add and select the fields to add to the report (explain that the Fields tab is used to create the .</a:t>
            </a:r>
            <a:r>
              <a:rPr lang="en-US" baseline="0" dirty="0" err="1"/>
              <a:t>qex</a:t>
            </a:r>
            <a:r>
              <a:rPr lang="en-US" baseline="0" dirty="0"/>
              <a:t> extraction file)</a:t>
            </a:r>
          </a:p>
          <a:p>
            <a:pPr marL="171450" indent="-171450">
              <a:buFontTx/>
              <a:buChar char="-"/>
            </a:pPr>
            <a:r>
              <a:rPr lang="en-US" baseline="0" dirty="0"/>
              <a:t>Click the Format tab and then select the Browse icon next to the Export to File field (the Format tab is used to export the actual data to Excel)</a:t>
            </a:r>
          </a:p>
          <a:p>
            <a:pPr marL="171450" indent="-171450">
              <a:buFontTx/>
              <a:buChar char="-"/>
            </a:pPr>
            <a:r>
              <a:rPr lang="en-US" baseline="0" dirty="0"/>
              <a:t>Type a file name for the file you’re creating</a:t>
            </a:r>
          </a:p>
          <a:p>
            <a:pPr marL="171450" indent="-171450">
              <a:buFontTx/>
              <a:buChar char="-"/>
            </a:pPr>
            <a:r>
              <a:rPr lang="en-US" baseline="0" dirty="0"/>
              <a:t>Click Open</a:t>
            </a:r>
          </a:p>
          <a:p>
            <a:pPr marL="171450" indent="-171450">
              <a:buFontTx/>
              <a:buChar char="-"/>
            </a:pPr>
            <a:r>
              <a:rPr lang="en-US" baseline="0" dirty="0" err="1"/>
              <a:t>ProFile</a:t>
            </a:r>
            <a:r>
              <a:rPr lang="en-US" baseline="0" dirty="0"/>
              <a:t> returns to the Export Options window where you can choose type of file (tab delimited, etc.) and where you can choose options such as exporting field names as header columns in Excel</a:t>
            </a:r>
          </a:p>
          <a:p>
            <a:pPr marL="171450" indent="-171450">
              <a:buFontTx/>
              <a:buChar char="-"/>
            </a:pPr>
            <a:r>
              <a:rPr lang="en-US" baseline="0" dirty="0"/>
              <a:t>Go back to the Fields tab, click Save and </a:t>
            </a:r>
            <a:r>
              <a:rPr lang="en-US" baseline="0" dirty="0" err="1"/>
              <a:t>ProFile</a:t>
            </a:r>
            <a:r>
              <a:rPr lang="en-US" baseline="0" dirty="0"/>
              <a:t> will save the .</a:t>
            </a:r>
            <a:r>
              <a:rPr lang="en-US" baseline="0" dirty="0" err="1"/>
              <a:t>qex</a:t>
            </a:r>
            <a:r>
              <a:rPr lang="en-US" baseline="0" dirty="0"/>
              <a:t> file (you may have to enter a filename)</a:t>
            </a:r>
          </a:p>
          <a:p>
            <a:pPr marL="171450" indent="-171450">
              <a:buFontTx/>
              <a:buChar char="-"/>
            </a:pPr>
            <a:r>
              <a:rPr lang="en-US" baseline="0" dirty="0"/>
              <a:t>Click Save once more to save the .</a:t>
            </a:r>
            <a:r>
              <a:rPr lang="en-US" baseline="0" dirty="0" err="1"/>
              <a:t>qex</a:t>
            </a:r>
            <a:r>
              <a:rPr lang="en-US" baseline="0" dirty="0"/>
              <a:t> file, and you’ll be taken back to the main/options window</a:t>
            </a:r>
          </a:p>
          <a:p>
            <a:pPr marL="171450" indent="-171450">
              <a:buFontTx/>
              <a:buChar char="-"/>
            </a:pPr>
            <a:r>
              <a:rPr lang="en-US" baseline="0" dirty="0"/>
              <a:t>Click OK and you’ll see the Export Files window where you click Export to send the info to the .csv file that you named earlier</a:t>
            </a:r>
          </a:p>
          <a:p>
            <a:pPr marL="0" indent="0">
              <a:buFontTx/>
              <a:buNone/>
            </a:pPr>
            <a:endParaRPr lang="en-US" baseline="0" dirty="0"/>
          </a:p>
          <a:p>
            <a:pPr marL="0" indent="0">
              <a:buFontTx/>
              <a:buNone/>
            </a:pPr>
            <a:r>
              <a:rPr lang="en-US" baseline="0" dirty="0"/>
              <a:t>Go find the .csv file and open it in Excel. </a:t>
            </a:r>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1427974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how how to print reports </a:t>
            </a:r>
          </a:p>
          <a:p>
            <a:pPr marL="171450" indent="-171450">
              <a:buFontTx/>
              <a:buChar char="-"/>
            </a:pPr>
            <a:r>
              <a:rPr lang="en-US" baseline="0" dirty="0"/>
              <a:t>Steps are similar to Export demo – select files then click Database Print Report</a:t>
            </a:r>
          </a:p>
          <a:p>
            <a:pPr marL="171450" indent="-171450">
              <a:buFontTx/>
              <a:buChar char="-"/>
            </a:pPr>
            <a:r>
              <a:rPr lang="en-US" baseline="0" dirty="0"/>
              <a:t>Select Options and on the Header tab, select text that will appear as headers on all the pages (</a:t>
            </a:r>
            <a:r>
              <a:rPr lang="en-US" baseline="0" dirty="0" err="1"/>
              <a:t>eg</a:t>
            </a:r>
            <a:r>
              <a:rPr lang="en-US" baseline="0" dirty="0"/>
              <a:t>: Today)</a:t>
            </a:r>
          </a:p>
          <a:p>
            <a:pPr marL="171450" indent="-171450">
              <a:buFontTx/>
              <a:buChar char="-"/>
            </a:pPr>
            <a:r>
              <a:rPr lang="en-US" baseline="0" dirty="0"/>
              <a:t>Go to the Fields tab, select the first (top left) tab and click Properties, in the window that opens enter text for title 1 (you can also choose fonts and other formatting options). Click OK to close the Title Properties dialog box</a:t>
            </a:r>
          </a:p>
          <a:p>
            <a:pPr marL="171450" indent="-171450">
              <a:buFontTx/>
              <a:buChar char="-"/>
            </a:pPr>
            <a:r>
              <a:rPr lang="en-US" baseline="0" dirty="0"/>
              <a:t>Double click the cell directly below and choose from a list of field codes and then click OK</a:t>
            </a:r>
          </a:p>
          <a:p>
            <a:pPr marL="171450" indent="-171450">
              <a:buFontTx/>
              <a:buChar char="-"/>
            </a:pPr>
            <a:r>
              <a:rPr lang="en-US" baseline="0" dirty="0"/>
              <a:t> Click add to add more cells to the report</a:t>
            </a:r>
          </a:p>
          <a:p>
            <a:pPr marL="171450" indent="-171450">
              <a:buFontTx/>
              <a:buChar char="-"/>
            </a:pPr>
            <a:r>
              <a:rPr lang="en-US" baseline="0" dirty="0"/>
              <a:t>You can then click the Footer tab to add footer info</a:t>
            </a:r>
          </a:p>
          <a:p>
            <a:pPr marL="171450" indent="-171450">
              <a:buFontTx/>
              <a:buChar char="-"/>
            </a:pPr>
            <a:r>
              <a:rPr lang="en-US" baseline="0" dirty="0"/>
              <a:t>You can also click the Format tab to add other options such as Printer, margins, etc.</a:t>
            </a:r>
          </a:p>
          <a:p>
            <a:pPr marL="171450" indent="-171450">
              <a:buFontTx/>
              <a:buChar char="-"/>
            </a:pPr>
            <a:r>
              <a:rPr lang="en-US" baseline="0" dirty="0"/>
              <a:t>Click OK to save your setup options and then click OK to open the Create Report dialog box.</a:t>
            </a:r>
          </a:p>
          <a:p>
            <a:pPr marL="171450" indent="-171450">
              <a:buFontTx/>
              <a:buChar char="-"/>
            </a:pPr>
            <a:r>
              <a:rPr lang="en-US" baseline="0" dirty="0"/>
              <a:t>Click Print</a:t>
            </a:r>
          </a:p>
          <a:p>
            <a:pPr marL="171450" indent="-171450">
              <a:buFontTx/>
              <a:buChar char="-"/>
            </a:pPr>
            <a:endParaRPr lang="en-US" baseline="0" dirty="0"/>
          </a:p>
          <a:p>
            <a:r>
              <a:rPr lang="en-US" baseline="0" dirty="0"/>
              <a:t>Show how to use mailing labels - MENTION THAT ALL FILES HAVE TO BE THE SAME YEAR AND MODULE</a:t>
            </a:r>
          </a:p>
          <a:p>
            <a:pPr marL="171450" indent="-171450">
              <a:buFontTx/>
              <a:buChar char="-"/>
            </a:pPr>
            <a:r>
              <a:rPr lang="en-US" baseline="0" dirty="0"/>
              <a:t>File &gt;Setup Mailing Labels</a:t>
            </a:r>
          </a:p>
          <a:p>
            <a:pPr marL="171450" indent="-171450">
              <a:buFontTx/>
              <a:buChar char="-"/>
            </a:pPr>
            <a:r>
              <a:rPr lang="en-US" baseline="0" dirty="0"/>
              <a:t>Select module and year and choose the label type</a:t>
            </a:r>
          </a:p>
          <a:p>
            <a:pPr marL="171450" indent="-171450">
              <a:buFontTx/>
              <a:buChar char="-"/>
            </a:pPr>
            <a:r>
              <a:rPr lang="en-US" baseline="0" dirty="0"/>
              <a:t>From Client Explorer, choose a few files for a test run and then click Database &gt; Mailing Labels</a:t>
            </a:r>
          </a:p>
          <a:p>
            <a:pPr marL="171450" indent="-171450">
              <a:buFontTx/>
              <a:buChar char="-"/>
            </a:pPr>
            <a:r>
              <a:rPr lang="en-US" b="1" i="1" u="sng" baseline="0" dirty="0"/>
              <a:t>To avoid printing two labels for each spousal return, check the box marked Print only one label for coupled returns </a:t>
            </a:r>
          </a:p>
          <a:p>
            <a:pPr marL="171450" indent="-171450">
              <a:buFontTx/>
              <a:buChar char="-"/>
            </a:pPr>
            <a:r>
              <a:rPr lang="en-US" baseline="0" dirty="0"/>
              <a:t>Review the Mailing Labels dialog settings and click OK</a:t>
            </a:r>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1349458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2/13/20</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3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609"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12.xml"/><Relationship Id="rId13" Type="http://schemas.openxmlformats.org/officeDocument/2006/relationships/image" Target="../media/image14.png"/><Relationship Id="rId3" Type="http://schemas.openxmlformats.org/officeDocument/2006/relationships/diagramData" Target="../diagrams/data11.xml"/><Relationship Id="rId7" Type="http://schemas.microsoft.com/office/2007/relationships/diagramDrawing" Target="../diagrams/drawing11.xml"/><Relationship Id="rId12" Type="http://schemas.microsoft.com/office/2007/relationships/diagramDrawing" Target="../diagrams/drawing12.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11.xml"/><Relationship Id="rId11" Type="http://schemas.openxmlformats.org/officeDocument/2006/relationships/diagramColors" Target="../diagrams/colors12.xml"/><Relationship Id="rId5" Type="http://schemas.openxmlformats.org/officeDocument/2006/relationships/diagramQuickStyle" Target="../diagrams/quickStyle11.xml"/><Relationship Id="rId10" Type="http://schemas.openxmlformats.org/officeDocument/2006/relationships/diagramQuickStyle" Target="../diagrams/quickStyle12.xml"/><Relationship Id="rId4" Type="http://schemas.openxmlformats.org/officeDocument/2006/relationships/diagramLayout" Target="../diagrams/layout11.xml"/><Relationship Id="rId9" Type="http://schemas.openxmlformats.org/officeDocument/2006/relationships/diagramLayout" Target="../diagrams/layout12.xml"/><Relationship Id="rId14" Type="http://schemas.openxmlformats.org/officeDocument/2006/relationships/image" Target="../media/image1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image" Target="../media/image7.png"/><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6.xml.rels><?xml version="1.0" encoding="UTF-8" standalone="yes"?>
<Relationships xmlns="http://schemas.openxmlformats.org/package/2006/relationships"><Relationship Id="rId8" Type="http://schemas.microsoft.com/office/2007/relationships/diagramDrawing" Target="../diagrams/drawing3.xml"/><Relationship Id="rId13" Type="http://schemas.openxmlformats.org/officeDocument/2006/relationships/diagramColors" Target="../diagrams/colors4.xml"/><Relationship Id="rId3" Type="http://schemas.openxmlformats.org/officeDocument/2006/relationships/image" Target="../media/image8.png"/><Relationship Id="rId7" Type="http://schemas.openxmlformats.org/officeDocument/2006/relationships/diagramColors" Target="../diagrams/colors3.xml"/><Relationship Id="rId12" Type="http://schemas.openxmlformats.org/officeDocument/2006/relationships/diagramQuickStyle" Target="../diagrams/quickStyle4.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QuickStyle" Target="../diagrams/quickStyle3.xml"/><Relationship Id="rId11" Type="http://schemas.openxmlformats.org/officeDocument/2006/relationships/diagramLayout" Target="../diagrams/layout4.xml"/><Relationship Id="rId5" Type="http://schemas.openxmlformats.org/officeDocument/2006/relationships/diagramLayout" Target="../diagrams/layout3.xml"/><Relationship Id="rId10" Type="http://schemas.openxmlformats.org/officeDocument/2006/relationships/diagramData" Target="../diagrams/data4.xml"/><Relationship Id="rId4" Type="http://schemas.openxmlformats.org/officeDocument/2006/relationships/diagramData" Target="../diagrams/data3.xml"/><Relationship Id="rId9" Type="http://schemas.openxmlformats.org/officeDocument/2006/relationships/image" Target="../media/image9.emf"/><Relationship Id="rId14" Type="http://schemas.microsoft.com/office/2007/relationships/diagramDrawing" Target="../diagrams/drawing4.xml"/></Relationships>
</file>

<file path=ppt/slides/_rels/slide7.xml.rels><?xml version="1.0" encoding="UTF-8" standalone="yes"?>
<Relationships xmlns="http://schemas.openxmlformats.org/package/2006/relationships"><Relationship Id="rId8" Type="http://schemas.microsoft.com/office/2007/relationships/diagramDrawing" Target="../diagrams/drawing5.xml"/><Relationship Id="rId13" Type="http://schemas.openxmlformats.org/officeDocument/2006/relationships/diagramColors" Target="../diagrams/colors6.xml"/><Relationship Id="rId3" Type="http://schemas.openxmlformats.org/officeDocument/2006/relationships/image" Target="../media/image10.png"/><Relationship Id="rId7" Type="http://schemas.openxmlformats.org/officeDocument/2006/relationships/diagramColors" Target="../diagrams/colors5.xml"/><Relationship Id="rId12" Type="http://schemas.openxmlformats.org/officeDocument/2006/relationships/diagramQuickStyle" Target="../diagrams/quickStyle6.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QuickStyle" Target="../diagrams/quickStyle5.xml"/><Relationship Id="rId11" Type="http://schemas.openxmlformats.org/officeDocument/2006/relationships/diagramLayout" Target="../diagrams/layout6.xml"/><Relationship Id="rId5" Type="http://schemas.openxmlformats.org/officeDocument/2006/relationships/diagramLayout" Target="../diagrams/layout5.xml"/><Relationship Id="rId10" Type="http://schemas.openxmlformats.org/officeDocument/2006/relationships/diagramData" Target="../diagrams/data6.xml"/><Relationship Id="rId4" Type="http://schemas.openxmlformats.org/officeDocument/2006/relationships/diagramData" Target="../diagrams/data5.xml"/><Relationship Id="rId9" Type="http://schemas.openxmlformats.org/officeDocument/2006/relationships/image" Target="../media/image9.emf"/><Relationship Id="rId14" Type="http://schemas.microsoft.com/office/2007/relationships/diagramDrawing" Target="../diagrams/drawing6.xml"/></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13" Type="http://schemas.microsoft.com/office/2007/relationships/diagramDrawing" Target="../diagrams/drawing8.xml"/><Relationship Id="rId3" Type="http://schemas.openxmlformats.org/officeDocument/2006/relationships/diagramData" Target="../diagrams/data7.xml"/><Relationship Id="rId7" Type="http://schemas.microsoft.com/office/2007/relationships/diagramDrawing" Target="../diagrams/drawing7.xml"/><Relationship Id="rId12" Type="http://schemas.openxmlformats.org/officeDocument/2006/relationships/diagramColors" Target="../diagrams/colors8.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7.xml"/><Relationship Id="rId11" Type="http://schemas.openxmlformats.org/officeDocument/2006/relationships/diagramQuickStyle" Target="../diagrams/quickStyle8.xml"/><Relationship Id="rId5" Type="http://schemas.openxmlformats.org/officeDocument/2006/relationships/diagramQuickStyle" Target="../diagrams/quickStyle7.xml"/><Relationship Id="rId10" Type="http://schemas.openxmlformats.org/officeDocument/2006/relationships/diagramLayout" Target="../diagrams/layout8.xml"/><Relationship Id="rId4" Type="http://schemas.openxmlformats.org/officeDocument/2006/relationships/diagramLayout" Target="../diagrams/layout7.xml"/><Relationship Id="rId9" Type="http://schemas.openxmlformats.org/officeDocument/2006/relationships/diagramData" Target="../diagrams/data8.xml"/><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10.xml"/><Relationship Id="rId13" Type="http://schemas.openxmlformats.org/officeDocument/2006/relationships/image" Target="../media/image12.png"/><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 Id="rId1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311384715"/>
              </p:ext>
            </p:extLst>
          </p:nvPr>
        </p:nvGraphicFramePr>
        <p:xfrm>
          <a:off x="6094412" y="2329682"/>
          <a:ext cx="5486400" cy="28162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5B2C9ED0-9D5D-4268-B98B-F3A7DA329591}"/>
              </a:ext>
            </a:extLst>
          </p:cNvPr>
          <p:cNvGraphicFramePr/>
          <p:nvPr>
            <p:extLst>
              <p:ext uri="{D42A27DB-BD31-4B8C-83A1-F6EECF244321}">
                <p14:modId xmlns:p14="http://schemas.microsoft.com/office/powerpoint/2010/main" val="81297070"/>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Snagit_SNG866">
            <a:extLst>
              <a:ext uri="{FF2B5EF4-FFF2-40B4-BE49-F238E27FC236}">
                <a16:creationId xmlns:a16="http://schemas.microsoft.com/office/drawing/2014/main" id="{9C67D6B0-A02F-4B53-AFBA-6405FABD3BF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46212" y="401333"/>
            <a:ext cx="4209319" cy="3247900"/>
          </a:xfrm>
          <a:prstGeom prst="rect">
            <a:avLst/>
          </a:prstGeom>
        </p:spPr>
      </p:pic>
      <p:pic>
        <p:nvPicPr>
          <p:cNvPr id="10" name="Snagit_SNG874">
            <a:extLst>
              <a:ext uri="{FF2B5EF4-FFF2-40B4-BE49-F238E27FC236}">
                <a16:creationId xmlns:a16="http://schemas.microsoft.com/office/drawing/2014/main" id="{57780C17-C0D1-4669-99B0-577A0EC101E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70971" y="2286974"/>
            <a:ext cx="2885241" cy="4405073"/>
          </a:xfrm>
          <a:prstGeom prst="rect">
            <a:avLst/>
          </a:prstGeom>
        </p:spPr>
      </p:pic>
    </p:spTree>
    <p:extLst>
      <p:ext uri="{BB962C8B-B14F-4D97-AF65-F5344CB8AC3E}">
        <p14:creationId xmlns:p14="http://schemas.microsoft.com/office/powerpoint/2010/main" val="1830103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End</a:t>
            </a:r>
            <a:endParaRPr lang="en-CA" sz="5400" dirty="0"/>
          </a:p>
        </p:txBody>
      </p:sp>
    </p:spTree>
    <p:extLst>
      <p:ext uri="{BB962C8B-B14F-4D97-AF65-F5344CB8AC3E}">
        <p14:creationId xmlns:p14="http://schemas.microsoft.com/office/powerpoint/2010/main" val="1811391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012" y="2514600"/>
            <a:ext cx="8610600" cy="3349542"/>
          </a:xfrm>
        </p:spPr>
        <p:txBody>
          <a:bodyPr/>
          <a:lstStyle/>
          <a:p>
            <a:r>
              <a:rPr lang="en-US" sz="5400" dirty="0"/>
              <a:t>Chapter 7</a:t>
            </a:r>
            <a:br>
              <a:rPr lang="en-US" sz="5400" dirty="0"/>
            </a:br>
            <a:r>
              <a:rPr lang="en-US" sz="5400" dirty="0"/>
              <a:t>Data-mining with Client Explorer</a:t>
            </a:r>
            <a:endParaRPr lang="en-CA" sz="5400" dirty="0"/>
          </a:p>
        </p:txBody>
      </p:sp>
    </p:spTree>
    <p:extLst>
      <p:ext uri="{BB962C8B-B14F-4D97-AF65-F5344CB8AC3E}">
        <p14:creationId xmlns:p14="http://schemas.microsoft.com/office/powerpoint/2010/main" val="578964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A587527-E09C-0C43-805F-491EAEB10C56}"/>
              </a:ext>
            </a:extLst>
          </p:cNvPr>
          <p:cNvPicPr>
            <a:picLocks noChangeAspect="1"/>
          </p:cNvPicPr>
          <p:nvPr/>
        </p:nvPicPr>
        <p:blipFill>
          <a:blip r:embed="rId3"/>
          <a:stretch>
            <a:fillRect/>
          </a:stretch>
        </p:blipFill>
        <p:spPr>
          <a:xfrm>
            <a:off x="760412" y="1752600"/>
            <a:ext cx="5003800" cy="4254500"/>
          </a:xfrm>
          <a:prstGeom prst="rect">
            <a:avLst/>
          </a:prstGeom>
        </p:spPr>
      </p:pic>
    </p:spTree>
    <p:extLst>
      <p:ext uri="{BB962C8B-B14F-4D97-AF65-F5344CB8AC3E}">
        <p14:creationId xmlns:p14="http://schemas.microsoft.com/office/powerpoint/2010/main" val="1793557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0188" y="4572000"/>
            <a:ext cx="6627812" cy="758825"/>
          </a:xfrm>
          <a:prstGeom prst="rect">
            <a:avLst/>
          </a:prstGeom>
        </p:spPr>
        <p:txBody>
          <a:bodyPr/>
          <a:lstStyle/>
          <a:p>
            <a:r>
              <a:rPr lang="en-CA" dirty="0"/>
              <a:t>what is Client Explorer?</a:t>
            </a:r>
          </a:p>
        </p:txBody>
      </p:sp>
    </p:spTree>
    <p:extLst>
      <p:ext uri="{BB962C8B-B14F-4D97-AF65-F5344CB8AC3E}">
        <p14:creationId xmlns:p14="http://schemas.microsoft.com/office/powerpoint/2010/main" val="648785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293812" y="1816100"/>
            <a:ext cx="5410200" cy="4051300"/>
          </a:xfrm>
          <a:prstGeom prst="rect">
            <a:avLst/>
          </a:prstGeom>
        </p:spPr>
      </p:pic>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3520509004"/>
              </p:ext>
            </p:extLst>
          </p:nvPr>
        </p:nvGraphicFramePr>
        <p:xfrm>
          <a:off x="7003866" y="2325677"/>
          <a:ext cx="3891147" cy="26972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37F60383-5896-4D66-894F-84E07887D61E}"/>
              </a:ext>
            </a:extLst>
          </p:cNvPr>
          <p:cNvGraphicFramePr/>
          <p:nvPr>
            <p:extLst>
              <p:ext uri="{D42A27DB-BD31-4B8C-83A1-F6EECF244321}">
                <p14:modId xmlns:p14="http://schemas.microsoft.com/office/powerpoint/2010/main" val="2701102693"/>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6694618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84212" y="2192237"/>
            <a:ext cx="6451600" cy="3430149"/>
          </a:xfrm>
          <a:prstGeom prst="rect">
            <a:avLst/>
          </a:prstGeom>
        </p:spPr>
      </p:pic>
      <p:sp>
        <p:nvSpPr>
          <p:cNvPr id="4" name="Title 1"/>
          <p:cNvSpPr txBox="1">
            <a:spLocks/>
          </p:cNvSpPr>
          <p:nvPr/>
        </p:nvSpPr>
        <p:spPr>
          <a:xfrm>
            <a:off x="0" y="6120427"/>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1258760781"/>
              </p:ext>
            </p:extLst>
          </p:nvPr>
        </p:nvGraphicFramePr>
        <p:xfrm>
          <a:off x="7542212" y="2764310"/>
          <a:ext cx="3738747" cy="22860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37F60383-5896-4D66-894F-84E07887D61E}"/>
              </a:ext>
            </a:extLst>
          </p:cNvPr>
          <p:cNvGraphicFramePr/>
          <p:nvPr>
            <p:extLst>
              <p:ext uri="{D42A27DB-BD31-4B8C-83A1-F6EECF244321}">
                <p14:modId xmlns:p14="http://schemas.microsoft.com/office/powerpoint/2010/main" val="544177069"/>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17941538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760412" y="1426180"/>
            <a:ext cx="5540258" cy="4106815"/>
          </a:xfrm>
          <a:prstGeom prst="rect">
            <a:avLst/>
          </a:prstGeom>
        </p:spPr>
      </p:pic>
      <p:sp>
        <p:nvSpPr>
          <p:cNvPr id="4" name="Title 1"/>
          <p:cNvSpPr txBox="1">
            <a:spLocks/>
          </p:cNvSpPr>
          <p:nvPr/>
        </p:nvSpPr>
        <p:spPr>
          <a:xfrm>
            <a:off x="0" y="6120427"/>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2845190664"/>
              </p:ext>
            </p:extLst>
          </p:nvPr>
        </p:nvGraphicFramePr>
        <p:xfrm>
          <a:off x="6831012" y="1600200"/>
          <a:ext cx="3987800" cy="396440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37F60383-5896-4D66-894F-84E07887D61E}"/>
              </a:ext>
            </a:extLst>
          </p:cNvPr>
          <p:cNvGraphicFramePr/>
          <p:nvPr>
            <p:extLst>
              <p:ext uri="{D42A27DB-BD31-4B8C-83A1-F6EECF244321}">
                <p14:modId xmlns:p14="http://schemas.microsoft.com/office/powerpoint/2010/main" val="2809823315"/>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9982269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6133127"/>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4008097111"/>
              </p:ext>
            </p:extLst>
          </p:nvPr>
        </p:nvGraphicFramePr>
        <p:xfrm>
          <a:off x="8280647" y="2266688"/>
          <a:ext cx="3219008" cy="32751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37F60383-5896-4D66-894F-84E07887D61E}"/>
              </a:ext>
            </a:extLst>
          </p:cNvPr>
          <p:cNvGraphicFramePr/>
          <p:nvPr>
            <p:extLst>
              <p:ext uri="{D42A27DB-BD31-4B8C-83A1-F6EECF244321}">
                <p14:modId xmlns:p14="http://schemas.microsoft.com/office/powerpoint/2010/main" val="1736912244"/>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5" name="Picture 4"/>
          <p:cNvPicPr>
            <a:picLocks noChangeAspect="1"/>
          </p:cNvPicPr>
          <p:nvPr/>
        </p:nvPicPr>
        <p:blipFill>
          <a:blip r:embed="rId14"/>
          <a:stretch>
            <a:fillRect/>
          </a:stretch>
        </p:blipFill>
        <p:spPr>
          <a:xfrm>
            <a:off x="912812" y="2310411"/>
            <a:ext cx="6851650" cy="3037919"/>
          </a:xfrm>
          <a:prstGeom prst="rect">
            <a:avLst/>
          </a:prstGeom>
        </p:spPr>
      </p:pic>
    </p:spTree>
    <p:extLst>
      <p:ext uri="{BB962C8B-B14F-4D97-AF65-F5344CB8AC3E}">
        <p14:creationId xmlns:p14="http://schemas.microsoft.com/office/powerpoint/2010/main" val="2755951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3739791864"/>
              </p:ext>
            </p:extLst>
          </p:nvPr>
        </p:nvGraphicFramePr>
        <p:xfrm>
          <a:off x="7237412" y="2524205"/>
          <a:ext cx="2668372" cy="23009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5B2C9ED0-9D5D-4268-B98B-F3A7DA329591}"/>
              </a:ext>
            </a:extLst>
          </p:cNvPr>
          <p:cNvGraphicFramePr/>
          <p:nvPr>
            <p:extLst>
              <p:ext uri="{D42A27DB-BD31-4B8C-83A1-F6EECF244321}">
                <p14:modId xmlns:p14="http://schemas.microsoft.com/office/powerpoint/2010/main" val="4092061467"/>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Snagit_SNG82B">
            <a:extLst>
              <a:ext uri="{FF2B5EF4-FFF2-40B4-BE49-F238E27FC236}">
                <a16:creationId xmlns:a16="http://schemas.microsoft.com/office/drawing/2014/main" id="{0A7DA06F-10C3-41B9-95C3-532B917B23B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539163" y="3524010"/>
            <a:ext cx="3232102" cy="3027286"/>
          </a:xfrm>
          <a:prstGeom prst="rect">
            <a:avLst/>
          </a:prstGeom>
        </p:spPr>
      </p:pic>
      <p:pic>
        <p:nvPicPr>
          <p:cNvPr id="10" name="Snagit_SNG854">
            <a:extLst>
              <a:ext uri="{FF2B5EF4-FFF2-40B4-BE49-F238E27FC236}">
                <a16:creationId xmlns:a16="http://schemas.microsoft.com/office/drawing/2014/main" id="{C5CE4B1C-6DAC-49FE-BF03-D234A3B19C2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539162" y="1066800"/>
            <a:ext cx="3274478" cy="2536909"/>
          </a:xfrm>
          <a:prstGeom prst="rect">
            <a:avLst/>
          </a:prstGeom>
        </p:spPr>
      </p:pic>
    </p:spTree>
    <p:extLst>
      <p:ext uri="{BB962C8B-B14F-4D97-AF65-F5344CB8AC3E}">
        <p14:creationId xmlns:p14="http://schemas.microsoft.com/office/powerpoint/2010/main" val="18257079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431</TotalTime>
  <Words>926</Words>
  <Application>Microsoft Macintosh PowerPoint</Application>
  <PresentationFormat>Custom</PresentationFormat>
  <Paragraphs>118</Paragraphs>
  <Slides>11</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7 Data-mining with Client Explorer</vt:lpstr>
      <vt:lpstr>PowerPoint Presentation</vt:lpstr>
      <vt:lpstr>what is Client Explorer?</vt:lpstr>
      <vt:lpstr>PowerPoint Presentation</vt:lpstr>
      <vt:lpstr>PowerPoint Presentation</vt:lpstr>
      <vt:lpstr>PowerPoint Presentation</vt:lpstr>
      <vt:lpstr>PowerPoint Presentation</vt:lpstr>
      <vt:lpstr>PowerPoint Presentation</vt:lpstr>
      <vt:lpstr>PowerPoint Presentation</vt:lpstr>
      <vt:lpstr>E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Michael Di Lauro</cp:lastModifiedBy>
  <cp:revision>622</cp:revision>
  <cp:lastPrinted>2017-01-10T23:11:41Z</cp:lastPrinted>
  <dcterms:created xsi:type="dcterms:W3CDTF">2014-09-11T15:23:46Z</dcterms:created>
  <dcterms:modified xsi:type="dcterms:W3CDTF">2020-12-13T17:40:04Z</dcterms:modified>
</cp:coreProperties>
</file>